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7" r:id="rId2"/>
    <p:sldMasterId id="2147483694" r:id="rId3"/>
    <p:sldMasterId id="2147483726" r:id="rId4"/>
    <p:sldMasterId id="2147483748" r:id="rId5"/>
    <p:sldMasterId id="2147483752" r:id="rId6"/>
  </p:sldMasterIdLst>
  <p:notesMasterIdLst>
    <p:notesMasterId r:id="rId9"/>
  </p:notesMasterIdLst>
  <p:sldIdLst>
    <p:sldId id="378" r:id="rId7"/>
    <p:sldId id="379" r:id="rId8"/>
  </p:sldIdLst>
  <p:sldSz cx="12192000" cy="6858000"/>
  <p:notesSz cx="6858000" cy="9144000"/>
  <p:custDataLst>
    <p:tags r:id="rId1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ulneva, Julia [JACRU]" initials="ZJ[" lastIdx="30" clrIdx="0">
    <p:extLst>
      <p:ext uri="{19B8F6BF-5375-455C-9EA6-DF929625EA0E}">
        <p15:presenceInfo xmlns:p15="http://schemas.microsoft.com/office/powerpoint/2012/main" userId="S::JZhulnev@its.jnj.com::859e5724-59b4-4b06-a82d-6ac895e420af" providerId="AD"/>
      </p:ext>
    </p:extLst>
  </p:cmAuthor>
  <p:cmAuthor id="2" name="Askerko, Olga [JANRU]" initials="AO[" lastIdx="40" clrIdx="1">
    <p:extLst>
      <p:ext uri="{19B8F6BF-5375-455C-9EA6-DF929625EA0E}">
        <p15:presenceInfo xmlns:p15="http://schemas.microsoft.com/office/powerpoint/2012/main" userId="S::OAskerko@its.jnj.com::f747bf95-8c8a-4582-8714-7a3adf1418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3792" autoAdjust="0"/>
  </p:normalViewPr>
  <p:slideViewPr>
    <p:cSldViewPr snapToGrid="0">
      <p:cViewPr varScale="1">
        <p:scale>
          <a:sx n="67" d="100"/>
          <a:sy n="67" d="100"/>
        </p:scale>
        <p:origin x="604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F42EB5-94E6-4584-B8A5-3199F7D035F7}" type="datetimeFigureOut">
              <a:rPr lang="ru-RU" smtClean="0"/>
              <a:pPr/>
              <a:t>12.08.2021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05FB26-EEDF-4279-A4C6-ABE7C924347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57992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1DD62-9255-48E8-B4DB-820588B6EB2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17826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8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9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0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583680"/>
            <a:ext cx="7164000" cy="14416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579421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93386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56967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354272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623622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bg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236001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34434" y="1284288"/>
            <a:ext cx="11523133" cy="914400"/>
          </a:xfrm>
        </p:spPr>
        <p:txBody>
          <a:bodyPr lIns="0" rIns="0" anchor="ctr">
            <a:noAutofit/>
          </a:bodyPr>
          <a:lstStyle>
            <a:lvl1pPr marL="0" indent="0">
              <a:buNone/>
              <a:defRPr sz="3733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334434" y="2305223"/>
            <a:ext cx="11523133" cy="914400"/>
          </a:xfrm>
        </p:spPr>
        <p:txBody>
          <a:bodyPr lIns="0" rIns="0">
            <a:noAutofit/>
          </a:bodyPr>
          <a:lstStyle>
            <a:lvl1pPr marL="0" indent="0">
              <a:buNone/>
              <a:defRPr sz="2667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3439528" y="2997793"/>
            <a:ext cx="8752472" cy="3884084"/>
          </a:xfrm>
          <a:custGeom>
            <a:avLst/>
            <a:gdLst>
              <a:gd name="connsiteX0" fmla="*/ 6564354 w 6564354"/>
              <a:gd name="connsiteY0" fmla="*/ 0 h 2913063"/>
              <a:gd name="connsiteX1" fmla="*/ 6564354 w 6564354"/>
              <a:gd name="connsiteY1" fmla="*/ 1240190 h 2913063"/>
              <a:gd name="connsiteX2" fmla="*/ 662256 w 6564354"/>
              <a:gd name="connsiteY2" fmla="*/ 2882854 h 2913063"/>
              <a:gd name="connsiteX3" fmla="*/ 589330 w 6564354"/>
              <a:gd name="connsiteY3" fmla="*/ 2913063 h 2913063"/>
              <a:gd name="connsiteX4" fmla="*/ 0 w 6564354"/>
              <a:gd name="connsiteY4" fmla="*/ 2913063 h 2913063"/>
              <a:gd name="connsiteX5" fmla="*/ 323355 w 6564354"/>
              <a:gd name="connsiteY5" fmla="*/ 2720335 h 2913063"/>
              <a:gd name="connsiteX6" fmla="*/ 6564354 w 6564354"/>
              <a:gd name="connsiteY6" fmla="*/ 0 h 2913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64354" h="2913063">
                <a:moveTo>
                  <a:pt x="6564354" y="0"/>
                </a:moveTo>
                <a:lnTo>
                  <a:pt x="6564354" y="1240190"/>
                </a:lnTo>
                <a:cubicBezTo>
                  <a:pt x="3910384" y="1646031"/>
                  <a:pt x="2731793" y="2031305"/>
                  <a:pt x="662256" y="2882854"/>
                </a:cubicBezTo>
                <a:lnTo>
                  <a:pt x="589330" y="2913063"/>
                </a:lnTo>
                <a:lnTo>
                  <a:pt x="0" y="2913063"/>
                </a:lnTo>
                <a:lnTo>
                  <a:pt x="323355" y="2720335"/>
                </a:lnTo>
                <a:cubicBezTo>
                  <a:pt x="3116317" y="1062246"/>
                  <a:pt x="4436791" y="394872"/>
                  <a:pt x="6564354" y="0"/>
                </a:cubicBezTo>
                <a:close/>
              </a:path>
            </a:pathLst>
          </a:custGeom>
          <a:solidFill>
            <a:srgbClr val="ED17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  <p:sp>
        <p:nvSpPr>
          <p:cNvPr id="16" name="Freeform 16"/>
          <p:cNvSpPr>
            <a:spLocks/>
          </p:cNvSpPr>
          <p:nvPr userDrawn="1"/>
        </p:nvSpPr>
        <p:spPr bwMode="auto">
          <a:xfrm>
            <a:off x="5143501" y="4650910"/>
            <a:ext cx="7048500" cy="2230967"/>
          </a:xfrm>
          <a:custGeom>
            <a:avLst/>
            <a:gdLst>
              <a:gd name="T0" fmla="*/ 0 w 904"/>
              <a:gd name="T1" fmla="*/ 284 h 286"/>
              <a:gd name="T2" fmla="*/ 904 w 904"/>
              <a:gd name="T3" fmla="*/ 0 h 286"/>
              <a:gd name="T4" fmla="*/ 904 w 904"/>
              <a:gd name="T5" fmla="*/ 7 h 286"/>
              <a:gd name="T6" fmla="*/ 319 w 904"/>
              <a:gd name="T7" fmla="*/ 286 h 286"/>
              <a:gd name="T8" fmla="*/ 0 w 904"/>
              <a:gd name="T9" fmla="*/ 284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4" h="286">
                <a:moveTo>
                  <a:pt x="0" y="284"/>
                </a:moveTo>
                <a:cubicBezTo>
                  <a:pt x="281" y="153"/>
                  <a:pt x="584" y="57"/>
                  <a:pt x="904" y="0"/>
                </a:cubicBezTo>
                <a:cubicBezTo>
                  <a:pt x="904" y="13"/>
                  <a:pt x="904" y="4"/>
                  <a:pt x="904" y="7"/>
                </a:cubicBezTo>
                <a:cubicBezTo>
                  <a:pt x="677" y="89"/>
                  <a:pt x="516" y="169"/>
                  <a:pt x="319" y="286"/>
                </a:cubicBezTo>
                <a:cubicBezTo>
                  <a:pt x="232" y="286"/>
                  <a:pt x="86" y="286"/>
                  <a:pt x="0" y="284"/>
                </a:cubicBezTo>
              </a:path>
            </a:pathLst>
          </a:custGeom>
          <a:solidFill>
            <a:srgbClr val="00BACE">
              <a:alpha val="5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3200" dirty="0"/>
          </a:p>
        </p:txBody>
      </p:sp>
      <p:grpSp>
        <p:nvGrpSpPr>
          <p:cNvPr id="26" name="Group 23"/>
          <p:cNvGrpSpPr>
            <a:grpSpLocks noChangeAspect="1"/>
          </p:cNvGrpSpPr>
          <p:nvPr userDrawn="1"/>
        </p:nvGrpSpPr>
        <p:grpSpPr bwMode="auto">
          <a:xfrm>
            <a:off x="440695" y="5754348"/>
            <a:ext cx="1326460" cy="856121"/>
            <a:chOff x="370" y="0"/>
            <a:chExt cx="5020" cy="3240"/>
          </a:xfrm>
        </p:grpSpPr>
        <p:sp>
          <p:nvSpPr>
            <p:cNvPr id="29" name="Freeform 25"/>
            <p:cNvSpPr>
              <a:spLocks/>
            </p:cNvSpPr>
            <p:nvPr userDrawn="1"/>
          </p:nvSpPr>
          <p:spPr bwMode="auto">
            <a:xfrm>
              <a:off x="2373" y="0"/>
              <a:ext cx="1445" cy="495"/>
            </a:xfrm>
            <a:custGeom>
              <a:avLst/>
              <a:gdLst>
                <a:gd name="T0" fmla="*/ 248 w 248"/>
                <a:gd name="T1" fmla="*/ 81 h 85"/>
                <a:gd name="T2" fmla="*/ 0 w 248"/>
                <a:gd name="T3" fmla="*/ 0 h 85"/>
                <a:gd name="T4" fmla="*/ 3 w 248"/>
                <a:gd name="T5" fmla="*/ 3 h 85"/>
                <a:gd name="T6" fmla="*/ 178 w 248"/>
                <a:gd name="T7" fmla="*/ 85 h 85"/>
                <a:gd name="T8" fmla="*/ 248 w 248"/>
                <a:gd name="T9" fmla="*/ 8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5">
                  <a:moveTo>
                    <a:pt x="248" y="81"/>
                  </a:moveTo>
                  <a:cubicBezTo>
                    <a:pt x="171" y="45"/>
                    <a:pt x="87" y="18"/>
                    <a:pt x="0" y="0"/>
                  </a:cubicBezTo>
                  <a:cubicBezTo>
                    <a:pt x="1" y="1"/>
                    <a:pt x="2" y="2"/>
                    <a:pt x="3" y="3"/>
                  </a:cubicBezTo>
                  <a:cubicBezTo>
                    <a:pt x="66" y="26"/>
                    <a:pt x="124" y="53"/>
                    <a:pt x="178" y="85"/>
                  </a:cubicBezTo>
                  <a:cubicBezTo>
                    <a:pt x="201" y="83"/>
                    <a:pt x="225" y="82"/>
                    <a:pt x="248" y="81"/>
                  </a:cubicBezTo>
                </a:path>
              </a:pathLst>
            </a:custGeom>
            <a:solidFill>
              <a:srgbClr val="01B8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1430" y="18"/>
              <a:ext cx="2271" cy="1014"/>
            </a:xfrm>
            <a:custGeom>
              <a:avLst/>
              <a:gdLst>
                <a:gd name="T0" fmla="*/ 340 w 390"/>
                <a:gd name="T1" fmla="*/ 82 h 174"/>
                <a:gd name="T2" fmla="*/ 165 w 390"/>
                <a:gd name="T3" fmla="*/ 0 h 174"/>
                <a:gd name="T4" fmla="*/ 239 w 390"/>
                <a:gd name="T5" fmla="*/ 57 h 174"/>
                <a:gd name="T6" fmla="*/ 239 w 390"/>
                <a:gd name="T7" fmla="*/ 58 h 174"/>
                <a:gd name="T8" fmla="*/ 277 w 390"/>
                <a:gd name="T9" fmla="*/ 90 h 174"/>
                <a:gd name="T10" fmla="*/ 0 w 390"/>
                <a:gd name="T11" fmla="*/ 174 h 174"/>
                <a:gd name="T12" fmla="*/ 302 w 390"/>
                <a:gd name="T13" fmla="*/ 114 h 174"/>
                <a:gd name="T14" fmla="*/ 390 w 390"/>
                <a:gd name="T15" fmla="*/ 114 h 174"/>
                <a:gd name="T16" fmla="*/ 340 w 390"/>
                <a:gd name="T17" fmla="*/ 8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174">
                  <a:moveTo>
                    <a:pt x="340" y="82"/>
                  </a:moveTo>
                  <a:cubicBezTo>
                    <a:pt x="286" y="50"/>
                    <a:pt x="228" y="23"/>
                    <a:pt x="165" y="0"/>
                  </a:cubicBezTo>
                  <a:cubicBezTo>
                    <a:pt x="191" y="18"/>
                    <a:pt x="216" y="38"/>
                    <a:pt x="239" y="57"/>
                  </a:cubicBezTo>
                  <a:cubicBezTo>
                    <a:pt x="239" y="58"/>
                    <a:pt x="239" y="57"/>
                    <a:pt x="239" y="58"/>
                  </a:cubicBezTo>
                  <a:cubicBezTo>
                    <a:pt x="252" y="68"/>
                    <a:pt x="264" y="79"/>
                    <a:pt x="277" y="90"/>
                  </a:cubicBezTo>
                  <a:cubicBezTo>
                    <a:pt x="178" y="105"/>
                    <a:pt x="85" y="134"/>
                    <a:pt x="0" y="174"/>
                  </a:cubicBezTo>
                  <a:cubicBezTo>
                    <a:pt x="95" y="139"/>
                    <a:pt x="197" y="118"/>
                    <a:pt x="302" y="114"/>
                  </a:cubicBezTo>
                  <a:cubicBezTo>
                    <a:pt x="331" y="112"/>
                    <a:pt x="360" y="112"/>
                    <a:pt x="390" y="114"/>
                  </a:cubicBezTo>
                  <a:cubicBezTo>
                    <a:pt x="374" y="103"/>
                    <a:pt x="357" y="92"/>
                    <a:pt x="340" y="82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1401" y="356"/>
              <a:ext cx="1642" cy="687"/>
            </a:xfrm>
            <a:custGeom>
              <a:avLst/>
              <a:gdLst>
                <a:gd name="T0" fmla="*/ 244 w 282"/>
                <a:gd name="T1" fmla="*/ 0 h 118"/>
                <a:gd name="T2" fmla="*/ 0 w 282"/>
                <a:gd name="T3" fmla="*/ 118 h 118"/>
                <a:gd name="T4" fmla="*/ 6 w 282"/>
                <a:gd name="T5" fmla="*/ 116 h 118"/>
                <a:gd name="T6" fmla="*/ 282 w 282"/>
                <a:gd name="T7" fmla="*/ 32 h 118"/>
                <a:gd name="T8" fmla="*/ 244 w 282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118">
                  <a:moveTo>
                    <a:pt x="244" y="0"/>
                  </a:moveTo>
                  <a:cubicBezTo>
                    <a:pt x="154" y="29"/>
                    <a:pt x="72" y="69"/>
                    <a:pt x="0" y="118"/>
                  </a:cubicBezTo>
                  <a:cubicBezTo>
                    <a:pt x="2" y="118"/>
                    <a:pt x="4" y="117"/>
                    <a:pt x="6" y="116"/>
                  </a:cubicBezTo>
                  <a:cubicBezTo>
                    <a:pt x="90" y="76"/>
                    <a:pt x="183" y="47"/>
                    <a:pt x="282" y="32"/>
                  </a:cubicBezTo>
                  <a:cubicBezTo>
                    <a:pt x="270" y="21"/>
                    <a:pt x="257" y="10"/>
                    <a:pt x="244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0" name="Freeform 26"/>
            <p:cNvSpPr>
              <a:spLocks/>
            </p:cNvSpPr>
            <p:nvPr userDrawn="1"/>
          </p:nvSpPr>
          <p:spPr bwMode="auto">
            <a:xfrm>
              <a:off x="3410" y="472"/>
              <a:ext cx="914" cy="268"/>
            </a:xfrm>
            <a:custGeom>
              <a:avLst/>
              <a:gdLst>
                <a:gd name="T0" fmla="*/ 70 w 157"/>
                <a:gd name="T1" fmla="*/ 0 h 46"/>
                <a:gd name="T2" fmla="*/ 0 w 157"/>
                <a:gd name="T3" fmla="*/ 4 h 46"/>
                <a:gd name="T4" fmla="*/ 50 w 157"/>
                <a:gd name="T5" fmla="*/ 36 h 46"/>
                <a:gd name="T6" fmla="*/ 157 w 157"/>
                <a:gd name="T7" fmla="*/ 46 h 46"/>
                <a:gd name="T8" fmla="*/ 70 w 157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46">
                  <a:moveTo>
                    <a:pt x="70" y="0"/>
                  </a:moveTo>
                  <a:cubicBezTo>
                    <a:pt x="47" y="1"/>
                    <a:pt x="23" y="2"/>
                    <a:pt x="0" y="4"/>
                  </a:cubicBezTo>
                  <a:cubicBezTo>
                    <a:pt x="17" y="14"/>
                    <a:pt x="34" y="25"/>
                    <a:pt x="50" y="36"/>
                  </a:cubicBezTo>
                  <a:cubicBezTo>
                    <a:pt x="85" y="37"/>
                    <a:pt x="121" y="40"/>
                    <a:pt x="157" y="46"/>
                  </a:cubicBezTo>
                  <a:cubicBezTo>
                    <a:pt x="129" y="29"/>
                    <a:pt x="100" y="14"/>
                    <a:pt x="70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370" y="1072"/>
              <a:ext cx="693" cy="1154"/>
            </a:xfrm>
            <a:custGeom>
              <a:avLst/>
              <a:gdLst>
                <a:gd name="T0" fmla="*/ 60 w 119"/>
                <a:gd name="T1" fmla="*/ 198 h 198"/>
                <a:gd name="T2" fmla="*/ 0 w 119"/>
                <a:gd name="T3" fmla="*/ 158 h 198"/>
                <a:gd name="T4" fmla="*/ 0 w 119"/>
                <a:gd name="T5" fmla="*/ 39 h 198"/>
                <a:gd name="T6" fmla="*/ 60 w 119"/>
                <a:gd name="T7" fmla="*/ 0 h 198"/>
                <a:gd name="T8" fmla="*/ 119 w 119"/>
                <a:gd name="T9" fmla="*/ 39 h 198"/>
                <a:gd name="T10" fmla="*/ 119 w 119"/>
                <a:gd name="T11" fmla="*/ 158 h 198"/>
                <a:gd name="T12" fmla="*/ 60 w 119"/>
                <a:gd name="T13" fmla="*/ 198 h 198"/>
                <a:gd name="T14" fmla="*/ 60 w 119"/>
                <a:gd name="T15" fmla="*/ 18 h 198"/>
                <a:gd name="T16" fmla="*/ 20 w 119"/>
                <a:gd name="T17" fmla="*/ 39 h 198"/>
                <a:gd name="T18" fmla="*/ 20 w 119"/>
                <a:gd name="T19" fmla="*/ 157 h 198"/>
                <a:gd name="T20" fmla="*/ 20 w 119"/>
                <a:gd name="T21" fmla="*/ 163 h 198"/>
                <a:gd name="T22" fmla="*/ 20 w 119"/>
                <a:gd name="T23" fmla="*/ 163 h 198"/>
                <a:gd name="T24" fmla="*/ 60 w 119"/>
                <a:gd name="T25" fmla="*/ 179 h 198"/>
                <a:gd name="T26" fmla="*/ 99 w 119"/>
                <a:gd name="T27" fmla="*/ 163 h 198"/>
                <a:gd name="T28" fmla="*/ 99 w 119"/>
                <a:gd name="T29" fmla="*/ 163 h 198"/>
                <a:gd name="T30" fmla="*/ 100 w 119"/>
                <a:gd name="T31" fmla="*/ 157 h 198"/>
                <a:gd name="T32" fmla="*/ 100 w 119"/>
                <a:gd name="T33" fmla="*/ 39 h 198"/>
                <a:gd name="T34" fmla="*/ 60 w 119"/>
                <a:gd name="T35" fmla="*/ 1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9" h="198">
                  <a:moveTo>
                    <a:pt x="60" y="198"/>
                  </a:moveTo>
                  <a:cubicBezTo>
                    <a:pt x="31" y="198"/>
                    <a:pt x="0" y="186"/>
                    <a:pt x="0" y="15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2"/>
                    <a:pt x="31" y="0"/>
                    <a:pt x="60" y="0"/>
                  </a:cubicBezTo>
                  <a:cubicBezTo>
                    <a:pt x="88" y="0"/>
                    <a:pt x="119" y="12"/>
                    <a:pt x="119" y="39"/>
                  </a:cubicBezTo>
                  <a:cubicBezTo>
                    <a:pt x="119" y="158"/>
                    <a:pt x="119" y="158"/>
                    <a:pt x="119" y="158"/>
                  </a:cubicBezTo>
                  <a:cubicBezTo>
                    <a:pt x="119" y="186"/>
                    <a:pt x="88" y="198"/>
                    <a:pt x="60" y="198"/>
                  </a:cubicBezTo>
                  <a:moveTo>
                    <a:pt x="60" y="18"/>
                  </a:moveTo>
                  <a:cubicBezTo>
                    <a:pt x="40" y="18"/>
                    <a:pt x="20" y="25"/>
                    <a:pt x="20" y="39"/>
                  </a:cubicBezTo>
                  <a:cubicBezTo>
                    <a:pt x="20" y="157"/>
                    <a:pt x="20" y="157"/>
                    <a:pt x="20" y="157"/>
                  </a:cubicBezTo>
                  <a:cubicBezTo>
                    <a:pt x="20" y="162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ubicBezTo>
                    <a:pt x="24" y="172"/>
                    <a:pt x="40" y="179"/>
                    <a:pt x="60" y="179"/>
                  </a:cubicBezTo>
                  <a:cubicBezTo>
                    <a:pt x="80" y="179"/>
                    <a:pt x="96" y="172"/>
                    <a:pt x="99" y="163"/>
                  </a:cubicBezTo>
                  <a:cubicBezTo>
                    <a:pt x="99" y="163"/>
                    <a:pt x="99" y="163"/>
                    <a:pt x="99" y="163"/>
                  </a:cubicBezTo>
                  <a:cubicBezTo>
                    <a:pt x="99" y="163"/>
                    <a:pt x="100" y="162"/>
                    <a:pt x="100" y="157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25"/>
                    <a:pt x="80" y="18"/>
                    <a:pt x="60" y="18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8" name="Freeform 34"/>
            <p:cNvSpPr>
              <a:spLocks/>
            </p:cNvSpPr>
            <p:nvPr userDrawn="1"/>
          </p:nvSpPr>
          <p:spPr bwMode="auto">
            <a:xfrm>
              <a:off x="4779" y="1084"/>
              <a:ext cx="448" cy="1130"/>
            </a:xfrm>
            <a:custGeom>
              <a:avLst/>
              <a:gdLst>
                <a:gd name="T0" fmla="*/ 69 w 77"/>
                <a:gd name="T1" fmla="*/ 194 h 194"/>
                <a:gd name="T2" fmla="*/ 37 w 77"/>
                <a:gd name="T3" fmla="*/ 185 h 194"/>
                <a:gd name="T4" fmla="*/ 23 w 77"/>
                <a:gd name="T5" fmla="*/ 154 h 194"/>
                <a:gd name="T6" fmla="*/ 23 w 77"/>
                <a:gd name="T7" fmla="*/ 74 h 194"/>
                <a:gd name="T8" fmla="*/ 0 w 77"/>
                <a:gd name="T9" fmla="*/ 74 h 194"/>
                <a:gd name="T10" fmla="*/ 0 w 77"/>
                <a:gd name="T11" fmla="*/ 56 h 194"/>
                <a:gd name="T12" fmla="*/ 23 w 77"/>
                <a:gd name="T13" fmla="*/ 56 h 194"/>
                <a:gd name="T14" fmla="*/ 23 w 77"/>
                <a:gd name="T15" fmla="*/ 14 h 194"/>
                <a:gd name="T16" fmla="*/ 42 w 77"/>
                <a:gd name="T17" fmla="*/ 0 h 194"/>
                <a:gd name="T18" fmla="*/ 42 w 77"/>
                <a:gd name="T19" fmla="*/ 56 h 194"/>
                <a:gd name="T20" fmla="*/ 74 w 77"/>
                <a:gd name="T21" fmla="*/ 56 h 194"/>
                <a:gd name="T22" fmla="*/ 74 w 77"/>
                <a:gd name="T23" fmla="*/ 74 h 194"/>
                <a:gd name="T24" fmla="*/ 71 w 77"/>
                <a:gd name="T25" fmla="*/ 74 h 194"/>
                <a:gd name="T26" fmla="*/ 42 w 77"/>
                <a:gd name="T27" fmla="*/ 74 h 194"/>
                <a:gd name="T28" fmla="*/ 42 w 77"/>
                <a:gd name="T29" fmla="*/ 154 h 194"/>
                <a:gd name="T30" fmla="*/ 74 w 77"/>
                <a:gd name="T31" fmla="*/ 176 h 194"/>
                <a:gd name="T32" fmla="*/ 77 w 77"/>
                <a:gd name="T33" fmla="*/ 176 h 194"/>
                <a:gd name="T34" fmla="*/ 77 w 77"/>
                <a:gd name="T35" fmla="*/ 194 h 194"/>
                <a:gd name="T36" fmla="*/ 74 w 77"/>
                <a:gd name="T37" fmla="*/ 194 h 194"/>
                <a:gd name="T38" fmla="*/ 69 w 77"/>
                <a:gd name="T3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7" h="194">
                  <a:moveTo>
                    <a:pt x="69" y="194"/>
                  </a:moveTo>
                  <a:cubicBezTo>
                    <a:pt x="56" y="194"/>
                    <a:pt x="45" y="191"/>
                    <a:pt x="37" y="185"/>
                  </a:cubicBezTo>
                  <a:cubicBezTo>
                    <a:pt x="28" y="179"/>
                    <a:pt x="23" y="168"/>
                    <a:pt x="23" y="154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61" y="74"/>
                    <a:pt x="52" y="74"/>
                    <a:pt x="42" y="74"/>
                  </a:cubicBezTo>
                  <a:cubicBezTo>
                    <a:pt x="42" y="154"/>
                    <a:pt x="42" y="154"/>
                    <a:pt x="42" y="154"/>
                  </a:cubicBezTo>
                  <a:cubicBezTo>
                    <a:pt x="42" y="173"/>
                    <a:pt x="56" y="175"/>
                    <a:pt x="74" y="176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77" y="194"/>
                    <a:pt x="77" y="194"/>
                    <a:pt x="77" y="194"/>
                  </a:cubicBezTo>
                  <a:cubicBezTo>
                    <a:pt x="74" y="194"/>
                    <a:pt x="74" y="194"/>
                    <a:pt x="74" y="194"/>
                  </a:cubicBezTo>
                  <a:cubicBezTo>
                    <a:pt x="72" y="194"/>
                    <a:pt x="71" y="194"/>
                    <a:pt x="69" y="194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3" name="Freeform 29"/>
            <p:cNvSpPr>
              <a:spLocks noEditPoints="1"/>
            </p:cNvSpPr>
            <p:nvPr userDrawn="1"/>
          </p:nvSpPr>
          <p:spPr bwMode="auto">
            <a:xfrm>
              <a:off x="1185" y="1399"/>
              <a:ext cx="618" cy="1142"/>
            </a:xfrm>
            <a:custGeom>
              <a:avLst/>
              <a:gdLst>
                <a:gd name="T0" fmla="*/ 0 w 106"/>
                <a:gd name="T1" fmla="*/ 196 h 196"/>
                <a:gd name="T2" fmla="*/ 0 w 106"/>
                <a:gd name="T3" fmla="*/ 3 h 196"/>
                <a:gd name="T4" fmla="*/ 18 w 106"/>
                <a:gd name="T5" fmla="*/ 3 h 196"/>
                <a:gd name="T6" fmla="*/ 18 w 106"/>
                <a:gd name="T7" fmla="*/ 13 h 196"/>
                <a:gd name="T8" fmla="*/ 56 w 106"/>
                <a:gd name="T9" fmla="*/ 0 h 196"/>
                <a:gd name="T10" fmla="*/ 74 w 106"/>
                <a:gd name="T11" fmla="*/ 3 h 196"/>
                <a:gd name="T12" fmla="*/ 106 w 106"/>
                <a:gd name="T13" fmla="*/ 39 h 196"/>
                <a:gd name="T14" fmla="*/ 106 w 106"/>
                <a:gd name="T15" fmla="*/ 100 h 196"/>
                <a:gd name="T16" fmla="*/ 55 w 106"/>
                <a:gd name="T17" fmla="*/ 140 h 196"/>
                <a:gd name="T18" fmla="*/ 55 w 106"/>
                <a:gd name="T19" fmla="*/ 140 h 196"/>
                <a:gd name="T20" fmla="*/ 20 w 106"/>
                <a:gd name="T21" fmla="*/ 129 h 196"/>
                <a:gd name="T22" fmla="*/ 20 w 106"/>
                <a:gd name="T23" fmla="*/ 182 h 196"/>
                <a:gd name="T24" fmla="*/ 0 w 106"/>
                <a:gd name="T25" fmla="*/ 196 h 196"/>
                <a:gd name="T26" fmla="*/ 53 w 106"/>
                <a:gd name="T27" fmla="*/ 19 h 196"/>
                <a:gd name="T28" fmla="*/ 20 w 106"/>
                <a:gd name="T29" fmla="*/ 45 h 196"/>
                <a:gd name="T30" fmla="*/ 20 w 106"/>
                <a:gd name="T31" fmla="*/ 102 h 196"/>
                <a:gd name="T32" fmla="*/ 54 w 106"/>
                <a:gd name="T33" fmla="*/ 122 h 196"/>
                <a:gd name="T34" fmla="*/ 54 w 106"/>
                <a:gd name="T35" fmla="*/ 122 h 196"/>
                <a:gd name="T36" fmla="*/ 77 w 106"/>
                <a:gd name="T37" fmla="*/ 116 h 196"/>
                <a:gd name="T38" fmla="*/ 87 w 106"/>
                <a:gd name="T39" fmla="*/ 100 h 196"/>
                <a:gd name="T40" fmla="*/ 87 w 106"/>
                <a:gd name="T41" fmla="*/ 36 h 196"/>
                <a:gd name="T42" fmla="*/ 68 w 106"/>
                <a:gd name="T43" fmla="*/ 21 h 196"/>
                <a:gd name="T44" fmla="*/ 53 w 106"/>
                <a:gd name="T45" fmla="*/ 1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6" h="196">
                  <a:moveTo>
                    <a:pt x="0" y="196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27" y="5"/>
                    <a:pt x="41" y="0"/>
                    <a:pt x="56" y="0"/>
                  </a:cubicBezTo>
                  <a:cubicBezTo>
                    <a:pt x="63" y="0"/>
                    <a:pt x="68" y="1"/>
                    <a:pt x="74" y="3"/>
                  </a:cubicBezTo>
                  <a:cubicBezTo>
                    <a:pt x="94" y="8"/>
                    <a:pt x="106" y="22"/>
                    <a:pt x="106" y="3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126"/>
                    <a:pt x="80" y="140"/>
                    <a:pt x="55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1" y="140"/>
                    <a:pt x="28" y="136"/>
                    <a:pt x="20" y="129"/>
                  </a:cubicBezTo>
                  <a:cubicBezTo>
                    <a:pt x="20" y="182"/>
                    <a:pt x="20" y="182"/>
                    <a:pt x="20" y="182"/>
                  </a:cubicBezTo>
                  <a:lnTo>
                    <a:pt x="0" y="196"/>
                  </a:lnTo>
                  <a:close/>
                  <a:moveTo>
                    <a:pt x="53" y="19"/>
                  </a:moveTo>
                  <a:cubicBezTo>
                    <a:pt x="41" y="19"/>
                    <a:pt x="20" y="25"/>
                    <a:pt x="20" y="45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20" y="115"/>
                    <a:pt x="37" y="122"/>
                    <a:pt x="54" y="122"/>
                  </a:cubicBezTo>
                  <a:cubicBezTo>
                    <a:pt x="54" y="122"/>
                    <a:pt x="54" y="122"/>
                    <a:pt x="54" y="122"/>
                  </a:cubicBezTo>
                  <a:cubicBezTo>
                    <a:pt x="63" y="122"/>
                    <a:pt x="71" y="120"/>
                    <a:pt x="77" y="116"/>
                  </a:cubicBezTo>
                  <a:cubicBezTo>
                    <a:pt x="84" y="112"/>
                    <a:pt x="87" y="107"/>
                    <a:pt x="87" y="100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5" y="27"/>
                    <a:pt x="74" y="23"/>
                    <a:pt x="68" y="21"/>
                  </a:cubicBezTo>
                  <a:cubicBezTo>
                    <a:pt x="64" y="20"/>
                    <a:pt x="59" y="19"/>
                    <a:pt x="53" y="19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1902" y="1399"/>
              <a:ext cx="629" cy="821"/>
            </a:xfrm>
            <a:custGeom>
              <a:avLst/>
              <a:gdLst>
                <a:gd name="T0" fmla="*/ 53 w 108"/>
                <a:gd name="T1" fmla="*/ 141 h 141"/>
                <a:gd name="T2" fmla="*/ 0 w 108"/>
                <a:gd name="T3" fmla="*/ 112 h 141"/>
                <a:gd name="T4" fmla="*/ 0 w 108"/>
                <a:gd name="T5" fmla="*/ 110 h 141"/>
                <a:gd name="T6" fmla="*/ 16 w 108"/>
                <a:gd name="T7" fmla="*/ 100 h 141"/>
                <a:gd name="T8" fmla="*/ 17 w 108"/>
                <a:gd name="T9" fmla="*/ 103 h 141"/>
                <a:gd name="T10" fmla="*/ 53 w 108"/>
                <a:gd name="T11" fmla="*/ 122 h 141"/>
                <a:gd name="T12" fmla="*/ 70 w 108"/>
                <a:gd name="T13" fmla="*/ 120 h 141"/>
                <a:gd name="T14" fmla="*/ 89 w 108"/>
                <a:gd name="T15" fmla="*/ 101 h 141"/>
                <a:gd name="T16" fmla="*/ 54 w 108"/>
                <a:gd name="T17" fmla="*/ 81 h 141"/>
                <a:gd name="T18" fmla="*/ 53 w 108"/>
                <a:gd name="T19" fmla="*/ 81 h 141"/>
                <a:gd name="T20" fmla="*/ 3 w 108"/>
                <a:gd name="T21" fmla="*/ 41 h 141"/>
                <a:gd name="T22" fmla="*/ 36 w 108"/>
                <a:gd name="T23" fmla="*/ 3 h 141"/>
                <a:gd name="T24" fmla="*/ 57 w 108"/>
                <a:gd name="T25" fmla="*/ 0 h 141"/>
                <a:gd name="T26" fmla="*/ 105 w 108"/>
                <a:gd name="T27" fmla="*/ 24 h 141"/>
                <a:gd name="T28" fmla="*/ 106 w 108"/>
                <a:gd name="T29" fmla="*/ 26 h 141"/>
                <a:gd name="T30" fmla="*/ 90 w 108"/>
                <a:gd name="T31" fmla="*/ 36 h 141"/>
                <a:gd name="T32" fmla="*/ 89 w 108"/>
                <a:gd name="T33" fmla="*/ 34 h 141"/>
                <a:gd name="T34" fmla="*/ 58 w 108"/>
                <a:gd name="T35" fmla="*/ 20 h 141"/>
                <a:gd name="T36" fmla="*/ 41 w 108"/>
                <a:gd name="T37" fmla="*/ 22 h 141"/>
                <a:gd name="T38" fmla="*/ 22 w 108"/>
                <a:gd name="T39" fmla="*/ 41 h 141"/>
                <a:gd name="T40" fmla="*/ 56 w 108"/>
                <a:gd name="T41" fmla="*/ 62 h 141"/>
                <a:gd name="T42" fmla="*/ 108 w 108"/>
                <a:gd name="T43" fmla="*/ 101 h 141"/>
                <a:gd name="T44" fmla="*/ 75 w 108"/>
                <a:gd name="T45" fmla="*/ 138 h 141"/>
                <a:gd name="T46" fmla="*/ 53 w 108"/>
                <a:gd name="T4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8" h="141">
                  <a:moveTo>
                    <a:pt x="53" y="141"/>
                  </a:moveTo>
                  <a:cubicBezTo>
                    <a:pt x="33" y="141"/>
                    <a:pt x="8" y="134"/>
                    <a:pt x="0" y="112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24" y="120"/>
                    <a:pt x="42" y="122"/>
                    <a:pt x="53" y="122"/>
                  </a:cubicBezTo>
                  <a:cubicBezTo>
                    <a:pt x="58" y="122"/>
                    <a:pt x="65" y="121"/>
                    <a:pt x="70" y="120"/>
                  </a:cubicBezTo>
                  <a:cubicBezTo>
                    <a:pt x="75" y="118"/>
                    <a:pt x="89" y="113"/>
                    <a:pt x="89" y="101"/>
                  </a:cubicBezTo>
                  <a:cubicBezTo>
                    <a:pt x="89" y="86"/>
                    <a:pt x="76" y="84"/>
                    <a:pt x="54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29" y="78"/>
                    <a:pt x="2" y="74"/>
                    <a:pt x="3" y="41"/>
                  </a:cubicBezTo>
                  <a:cubicBezTo>
                    <a:pt x="3" y="23"/>
                    <a:pt x="15" y="9"/>
                    <a:pt x="36" y="3"/>
                  </a:cubicBezTo>
                  <a:cubicBezTo>
                    <a:pt x="42" y="1"/>
                    <a:pt x="50" y="0"/>
                    <a:pt x="57" y="0"/>
                  </a:cubicBezTo>
                  <a:cubicBezTo>
                    <a:pt x="68" y="0"/>
                    <a:pt x="95" y="3"/>
                    <a:pt x="105" y="24"/>
                  </a:cubicBezTo>
                  <a:cubicBezTo>
                    <a:pt x="106" y="26"/>
                    <a:pt x="106" y="26"/>
                    <a:pt x="106" y="26"/>
                  </a:cubicBezTo>
                  <a:cubicBezTo>
                    <a:pt x="90" y="36"/>
                    <a:pt x="90" y="36"/>
                    <a:pt x="90" y="36"/>
                  </a:cubicBezTo>
                  <a:cubicBezTo>
                    <a:pt x="89" y="34"/>
                    <a:pt x="89" y="34"/>
                    <a:pt x="89" y="34"/>
                  </a:cubicBezTo>
                  <a:cubicBezTo>
                    <a:pt x="81" y="21"/>
                    <a:pt x="66" y="20"/>
                    <a:pt x="58" y="20"/>
                  </a:cubicBezTo>
                  <a:cubicBezTo>
                    <a:pt x="52" y="20"/>
                    <a:pt x="46" y="20"/>
                    <a:pt x="41" y="22"/>
                  </a:cubicBezTo>
                  <a:cubicBezTo>
                    <a:pt x="34" y="24"/>
                    <a:pt x="22" y="29"/>
                    <a:pt x="22" y="41"/>
                  </a:cubicBezTo>
                  <a:cubicBezTo>
                    <a:pt x="22" y="56"/>
                    <a:pt x="35" y="59"/>
                    <a:pt x="56" y="62"/>
                  </a:cubicBezTo>
                  <a:cubicBezTo>
                    <a:pt x="81" y="65"/>
                    <a:pt x="108" y="68"/>
                    <a:pt x="108" y="101"/>
                  </a:cubicBezTo>
                  <a:cubicBezTo>
                    <a:pt x="107" y="119"/>
                    <a:pt x="95" y="133"/>
                    <a:pt x="75" y="138"/>
                  </a:cubicBezTo>
                  <a:cubicBezTo>
                    <a:pt x="68" y="140"/>
                    <a:pt x="61" y="141"/>
                    <a:pt x="53" y="141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6" name="Freeform 32"/>
            <p:cNvSpPr>
              <a:spLocks/>
            </p:cNvSpPr>
            <p:nvPr userDrawn="1"/>
          </p:nvSpPr>
          <p:spPr bwMode="auto">
            <a:xfrm>
              <a:off x="3381" y="1404"/>
              <a:ext cx="1042" cy="810"/>
            </a:xfrm>
            <a:custGeom>
              <a:avLst/>
              <a:gdLst>
                <a:gd name="T0" fmla="*/ 179 w 179"/>
                <a:gd name="T1" fmla="*/ 139 h 139"/>
                <a:gd name="T2" fmla="*/ 160 w 179"/>
                <a:gd name="T3" fmla="*/ 139 h 139"/>
                <a:gd name="T4" fmla="*/ 160 w 179"/>
                <a:gd name="T5" fmla="*/ 40 h 139"/>
                <a:gd name="T6" fmla="*/ 129 w 179"/>
                <a:gd name="T7" fmla="*/ 18 h 139"/>
                <a:gd name="T8" fmla="*/ 99 w 179"/>
                <a:gd name="T9" fmla="*/ 39 h 139"/>
                <a:gd name="T10" fmla="*/ 99 w 179"/>
                <a:gd name="T11" fmla="*/ 139 h 139"/>
                <a:gd name="T12" fmla="*/ 80 w 179"/>
                <a:gd name="T13" fmla="*/ 139 h 139"/>
                <a:gd name="T14" fmla="*/ 80 w 179"/>
                <a:gd name="T15" fmla="*/ 39 h 139"/>
                <a:gd name="T16" fmla="*/ 51 w 179"/>
                <a:gd name="T17" fmla="*/ 18 h 139"/>
                <a:gd name="T18" fmla="*/ 51 w 179"/>
                <a:gd name="T19" fmla="*/ 18 h 139"/>
                <a:gd name="T20" fmla="*/ 19 w 179"/>
                <a:gd name="T21" fmla="*/ 42 h 139"/>
                <a:gd name="T22" fmla="*/ 19 w 179"/>
                <a:gd name="T23" fmla="*/ 139 h 139"/>
                <a:gd name="T24" fmla="*/ 0 w 179"/>
                <a:gd name="T25" fmla="*/ 139 h 139"/>
                <a:gd name="T26" fmla="*/ 0 w 179"/>
                <a:gd name="T27" fmla="*/ 1 h 139"/>
                <a:gd name="T28" fmla="*/ 19 w 179"/>
                <a:gd name="T29" fmla="*/ 1 h 139"/>
                <a:gd name="T30" fmla="*/ 19 w 179"/>
                <a:gd name="T31" fmla="*/ 10 h 139"/>
                <a:gd name="T32" fmla="*/ 53 w 179"/>
                <a:gd name="T33" fmla="*/ 0 h 139"/>
                <a:gd name="T34" fmla="*/ 90 w 179"/>
                <a:gd name="T35" fmla="*/ 16 h 139"/>
                <a:gd name="T36" fmla="*/ 130 w 179"/>
                <a:gd name="T37" fmla="*/ 0 h 139"/>
                <a:gd name="T38" fmla="*/ 179 w 179"/>
                <a:gd name="T39" fmla="*/ 40 h 139"/>
                <a:gd name="T40" fmla="*/ 179 w 179"/>
                <a:gd name="T41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9" h="139">
                  <a:moveTo>
                    <a:pt x="179" y="139"/>
                  </a:moveTo>
                  <a:cubicBezTo>
                    <a:pt x="160" y="139"/>
                    <a:pt x="160" y="139"/>
                    <a:pt x="160" y="139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60" y="24"/>
                    <a:pt x="143" y="18"/>
                    <a:pt x="129" y="18"/>
                  </a:cubicBezTo>
                  <a:cubicBezTo>
                    <a:pt x="116" y="18"/>
                    <a:pt x="100" y="24"/>
                    <a:pt x="99" y="39"/>
                  </a:cubicBezTo>
                  <a:cubicBezTo>
                    <a:pt x="99" y="139"/>
                    <a:pt x="99" y="139"/>
                    <a:pt x="99" y="139"/>
                  </a:cubicBezTo>
                  <a:cubicBezTo>
                    <a:pt x="80" y="139"/>
                    <a:pt x="80" y="139"/>
                    <a:pt x="80" y="139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79" y="24"/>
                    <a:pt x="65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35" y="18"/>
                    <a:pt x="19" y="27"/>
                    <a:pt x="19" y="42"/>
                  </a:cubicBezTo>
                  <a:cubicBezTo>
                    <a:pt x="19" y="139"/>
                    <a:pt x="19" y="139"/>
                    <a:pt x="19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8" y="3"/>
                    <a:pt x="39" y="0"/>
                    <a:pt x="53" y="0"/>
                  </a:cubicBezTo>
                  <a:cubicBezTo>
                    <a:pt x="70" y="0"/>
                    <a:pt x="84" y="6"/>
                    <a:pt x="90" y="16"/>
                  </a:cubicBezTo>
                  <a:cubicBezTo>
                    <a:pt x="100" y="5"/>
                    <a:pt x="117" y="0"/>
                    <a:pt x="130" y="0"/>
                  </a:cubicBezTo>
                  <a:cubicBezTo>
                    <a:pt x="154" y="1"/>
                    <a:pt x="179" y="13"/>
                    <a:pt x="179" y="40"/>
                  </a:cubicBezTo>
                  <a:lnTo>
                    <a:pt x="179" y="139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5" name="Freeform 31"/>
            <p:cNvSpPr>
              <a:spLocks/>
            </p:cNvSpPr>
            <p:nvPr userDrawn="1"/>
          </p:nvSpPr>
          <p:spPr bwMode="auto">
            <a:xfrm>
              <a:off x="2630" y="1416"/>
              <a:ext cx="617" cy="804"/>
            </a:xfrm>
            <a:custGeom>
              <a:avLst/>
              <a:gdLst>
                <a:gd name="T0" fmla="*/ 54 w 106"/>
                <a:gd name="T1" fmla="*/ 138 h 138"/>
                <a:gd name="T2" fmla="*/ 54 w 106"/>
                <a:gd name="T3" fmla="*/ 138 h 138"/>
                <a:gd name="T4" fmla="*/ 0 w 106"/>
                <a:gd name="T5" fmla="*/ 98 h 138"/>
                <a:gd name="T6" fmla="*/ 0 w 106"/>
                <a:gd name="T7" fmla="*/ 15 h 138"/>
                <a:gd name="T8" fmla="*/ 19 w 106"/>
                <a:gd name="T9" fmla="*/ 1 h 138"/>
                <a:gd name="T10" fmla="*/ 19 w 106"/>
                <a:gd name="T11" fmla="*/ 98 h 138"/>
                <a:gd name="T12" fmla="*/ 53 w 106"/>
                <a:gd name="T13" fmla="*/ 119 h 138"/>
                <a:gd name="T14" fmla="*/ 87 w 106"/>
                <a:gd name="T15" fmla="*/ 96 h 138"/>
                <a:gd name="T16" fmla="*/ 87 w 106"/>
                <a:gd name="T17" fmla="*/ 0 h 138"/>
                <a:gd name="T18" fmla="*/ 106 w 106"/>
                <a:gd name="T19" fmla="*/ 0 h 138"/>
                <a:gd name="T20" fmla="*/ 106 w 106"/>
                <a:gd name="T21" fmla="*/ 137 h 138"/>
                <a:gd name="T22" fmla="*/ 87 w 106"/>
                <a:gd name="T23" fmla="*/ 137 h 138"/>
                <a:gd name="T24" fmla="*/ 87 w 106"/>
                <a:gd name="T25" fmla="*/ 128 h 138"/>
                <a:gd name="T26" fmla="*/ 54 w 106"/>
                <a:gd name="T27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" h="138">
                  <a:moveTo>
                    <a:pt x="54" y="138"/>
                  </a:moveTo>
                  <a:cubicBezTo>
                    <a:pt x="54" y="138"/>
                    <a:pt x="54" y="138"/>
                    <a:pt x="54" y="138"/>
                  </a:cubicBezTo>
                  <a:cubicBezTo>
                    <a:pt x="27" y="138"/>
                    <a:pt x="0" y="126"/>
                    <a:pt x="0" y="9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112"/>
                    <a:pt x="36" y="119"/>
                    <a:pt x="53" y="119"/>
                  </a:cubicBezTo>
                  <a:cubicBezTo>
                    <a:pt x="70" y="119"/>
                    <a:pt x="87" y="112"/>
                    <a:pt x="87" y="96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28"/>
                    <a:pt x="87" y="128"/>
                    <a:pt x="87" y="128"/>
                  </a:cubicBezTo>
                  <a:cubicBezTo>
                    <a:pt x="79" y="134"/>
                    <a:pt x="68" y="138"/>
                    <a:pt x="54" y="138"/>
                  </a:cubicBez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4563" y="1439"/>
              <a:ext cx="111" cy="775"/>
            </a:xfrm>
            <a:custGeom>
              <a:avLst/>
              <a:gdLst>
                <a:gd name="T0" fmla="*/ 111 w 111"/>
                <a:gd name="T1" fmla="*/ 775 h 775"/>
                <a:gd name="T2" fmla="*/ 0 w 111"/>
                <a:gd name="T3" fmla="*/ 775 h 775"/>
                <a:gd name="T4" fmla="*/ 0 w 111"/>
                <a:gd name="T5" fmla="*/ 82 h 775"/>
                <a:gd name="T6" fmla="*/ 111 w 111"/>
                <a:gd name="T7" fmla="*/ 0 h 775"/>
                <a:gd name="T8" fmla="*/ 111 w 111"/>
                <a:gd name="T9" fmla="*/ 775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775">
                  <a:moveTo>
                    <a:pt x="111" y="775"/>
                  </a:moveTo>
                  <a:lnTo>
                    <a:pt x="0" y="775"/>
                  </a:lnTo>
                  <a:lnTo>
                    <a:pt x="0" y="82"/>
                  </a:lnTo>
                  <a:lnTo>
                    <a:pt x="111" y="0"/>
                  </a:lnTo>
                  <a:lnTo>
                    <a:pt x="111" y="775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5262" y="2098"/>
              <a:ext cx="128" cy="128"/>
            </a:xfrm>
            <a:custGeom>
              <a:avLst/>
              <a:gdLst>
                <a:gd name="T0" fmla="*/ 22 w 22"/>
                <a:gd name="T1" fmla="*/ 11 h 22"/>
                <a:gd name="T2" fmla="*/ 11 w 22"/>
                <a:gd name="T3" fmla="*/ 22 h 22"/>
                <a:gd name="T4" fmla="*/ 0 w 22"/>
                <a:gd name="T5" fmla="*/ 11 h 22"/>
                <a:gd name="T6" fmla="*/ 11 w 22"/>
                <a:gd name="T7" fmla="*/ 0 h 22"/>
                <a:gd name="T8" fmla="*/ 22 w 22"/>
                <a:gd name="T9" fmla="*/ 11 h 22"/>
                <a:gd name="T10" fmla="*/ 2 w 22"/>
                <a:gd name="T11" fmla="*/ 11 h 22"/>
                <a:gd name="T12" fmla="*/ 11 w 22"/>
                <a:gd name="T13" fmla="*/ 20 h 22"/>
                <a:gd name="T14" fmla="*/ 19 w 22"/>
                <a:gd name="T15" fmla="*/ 11 h 22"/>
                <a:gd name="T16" fmla="*/ 11 w 22"/>
                <a:gd name="T17" fmla="*/ 2 h 22"/>
                <a:gd name="T18" fmla="*/ 2 w 22"/>
                <a:gd name="T19" fmla="*/ 11 h 22"/>
                <a:gd name="T20" fmla="*/ 9 w 22"/>
                <a:gd name="T21" fmla="*/ 17 h 22"/>
                <a:gd name="T22" fmla="*/ 7 w 22"/>
                <a:gd name="T23" fmla="*/ 17 h 22"/>
                <a:gd name="T24" fmla="*/ 7 w 22"/>
                <a:gd name="T25" fmla="*/ 6 h 22"/>
                <a:gd name="T26" fmla="*/ 11 w 22"/>
                <a:gd name="T27" fmla="*/ 5 h 22"/>
                <a:gd name="T28" fmla="*/ 14 w 22"/>
                <a:gd name="T29" fmla="*/ 6 h 22"/>
                <a:gd name="T30" fmla="*/ 16 w 22"/>
                <a:gd name="T31" fmla="*/ 9 h 22"/>
                <a:gd name="T32" fmla="*/ 13 w 22"/>
                <a:gd name="T33" fmla="*/ 11 h 22"/>
                <a:gd name="T34" fmla="*/ 13 w 22"/>
                <a:gd name="T35" fmla="*/ 11 h 22"/>
                <a:gd name="T36" fmla="*/ 15 w 22"/>
                <a:gd name="T37" fmla="*/ 14 h 22"/>
                <a:gd name="T38" fmla="*/ 16 w 22"/>
                <a:gd name="T39" fmla="*/ 17 h 22"/>
                <a:gd name="T40" fmla="*/ 13 w 22"/>
                <a:gd name="T41" fmla="*/ 17 h 22"/>
                <a:gd name="T42" fmla="*/ 13 w 22"/>
                <a:gd name="T43" fmla="*/ 14 h 22"/>
                <a:gd name="T44" fmla="*/ 10 w 22"/>
                <a:gd name="T45" fmla="*/ 12 h 22"/>
                <a:gd name="T46" fmla="*/ 9 w 22"/>
                <a:gd name="T47" fmla="*/ 12 h 22"/>
                <a:gd name="T48" fmla="*/ 9 w 22"/>
                <a:gd name="T49" fmla="*/ 17 h 22"/>
                <a:gd name="T50" fmla="*/ 9 w 22"/>
                <a:gd name="T51" fmla="*/ 11 h 22"/>
                <a:gd name="T52" fmla="*/ 10 w 22"/>
                <a:gd name="T53" fmla="*/ 11 h 22"/>
                <a:gd name="T54" fmla="*/ 13 w 22"/>
                <a:gd name="T55" fmla="*/ 9 h 22"/>
                <a:gd name="T56" fmla="*/ 11 w 22"/>
                <a:gd name="T57" fmla="*/ 7 h 22"/>
                <a:gd name="T58" fmla="*/ 9 w 22"/>
                <a:gd name="T59" fmla="*/ 7 h 22"/>
                <a:gd name="T60" fmla="*/ 9 w 22"/>
                <a:gd name="T6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cubicBezTo>
                    <a:pt x="22" y="17"/>
                    <a:pt x="17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2" y="5"/>
                    <a:pt x="22" y="11"/>
                  </a:cubicBezTo>
                  <a:moveTo>
                    <a:pt x="2" y="11"/>
                  </a:moveTo>
                  <a:cubicBezTo>
                    <a:pt x="2" y="16"/>
                    <a:pt x="6" y="20"/>
                    <a:pt x="11" y="20"/>
                  </a:cubicBezTo>
                  <a:cubicBezTo>
                    <a:pt x="16" y="20"/>
                    <a:pt x="19" y="16"/>
                    <a:pt x="19" y="11"/>
                  </a:cubicBezTo>
                  <a:cubicBezTo>
                    <a:pt x="19" y="6"/>
                    <a:pt x="16" y="2"/>
                    <a:pt x="11" y="2"/>
                  </a:cubicBezTo>
                  <a:cubicBezTo>
                    <a:pt x="6" y="2"/>
                    <a:pt x="2" y="6"/>
                    <a:pt x="2" y="11"/>
                  </a:cubicBezTo>
                  <a:moveTo>
                    <a:pt x="9" y="17"/>
                  </a:moveTo>
                  <a:cubicBezTo>
                    <a:pt x="7" y="17"/>
                    <a:pt x="7" y="17"/>
                    <a:pt x="7" y="1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9" y="5"/>
                    <a:pt x="11" y="5"/>
                  </a:cubicBezTo>
                  <a:cubicBezTo>
                    <a:pt x="13" y="5"/>
                    <a:pt x="14" y="6"/>
                    <a:pt x="14" y="6"/>
                  </a:cubicBezTo>
                  <a:cubicBezTo>
                    <a:pt x="15" y="7"/>
                    <a:pt x="16" y="8"/>
                    <a:pt x="16" y="9"/>
                  </a:cubicBezTo>
                  <a:cubicBezTo>
                    <a:pt x="16" y="10"/>
                    <a:pt x="14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2"/>
                    <a:pt x="15" y="13"/>
                    <a:pt x="15" y="14"/>
                  </a:cubicBezTo>
                  <a:cubicBezTo>
                    <a:pt x="16" y="16"/>
                    <a:pt x="16" y="16"/>
                    <a:pt x="16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6"/>
                    <a:pt x="13" y="15"/>
                    <a:pt x="13" y="14"/>
                  </a:cubicBezTo>
                  <a:cubicBezTo>
                    <a:pt x="12" y="13"/>
                    <a:pt x="12" y="12"/>
                    <a:pt x="10" y="12"/>
                  </a:cubicBezTo>
                  <a:cubicBezTo>
                    <a:pt x="9" y="12"/>
                    <a:pt x="9" y="12"/>
                    <a:pt x="9" y="12"/>
                  </a:cubicBezTo>
                  <a:lnTo>
                    <a:pt x="9" y="17"/>
                  </a:lnTo>
                  <a:close/>
                  <a:moveTo>
                    <a:pt x="9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2" y="11"/>
                    <a:pt x="13" y="10"/>
                    <a:pt x="13" y="9"/>
                  </a:cubicBezTo>
                  <a:cubicBezTo>
                    <a:pt x="13" y="8"/>
                    <a:pt x="12" y="7"/>
                    <a:pt x="11" y="7"/>
                  </a:cubicBezTo>
                  <a:cubicBezTo>
                    <a:pt x="10" y="7"/>
                    <a:pt x="9" y="7"/>
                    <a:pt x="9" y="7"/>
                  </a:cubicBezTo>
                  <a:lnTo>
                    <a:pt x="9" y="11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3" name="Freeform 39"/>
            <p:cNvSpPr>
              <a:spLocks noEditPoints="1"/>
            </p:cNvSpPr>
            <p:nvPr userDrawn="1"/>
          </p:nvSpPr>
          <p:spPr bwMode="auto">
            <a:xfrm>
              <a:off x="3200" y="2378"/>
              <a:ext cx="41" cy="845"/>
            </a:xfrm>
            <a:custGeom>
              <a:avLst/>
              <a:gdLst>
                <a:gd name="T0" fmla="*/ 0 w 41"/>
                <a:gd name="T1" fmla="*/ 0 h 845"/>
                <a:gd name="T2" fmla="*/ 41 w 41"/>
                <a:gd name="T3" fmla="*/ 0 h 845"/>
                <a:gd name="T4" fmla="*/ 41 w 41"/>
                <a:gd name="T5" fmla="*/ 105 h 845"/>
                <a:gd name="T6" fmla="*/ 0 w 41"/>
                <a:gd name="T7" fmla="*/ 105 h 845"/>
                <a:gd name="T8" fmla="*/ 0 w 41"/>
                <a:gd name="T9" fmla="*/ 0 h 845"/>
                <a:gd name="T10" fmla="*/ 0 w 41"/>
                <a:gd name="T11" fmla="*/ 250 h 845"/>
                <a:gd name="T12" fmla="*/ 41 w 41"/>
                <a:gd name="T13" fmla="*/ 250 h 845"/>
                <a:gd name="T14" fmla="*/ 41 w 41"/>
                <a:gd name="T15" fmla="*/ 845 h 845"/>
                <a:gd name="T16" fmla="*/ 0 w 41"/>
                <a:gd name="T17" fmla="*/ 845 h 845"/>
                <a:gd name="T18" fmla="*/ 0 w 41"/>
                <a:gd name="T19" fmla="*/ 25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845">
                  <a:moveTo>
                    <a:pt x="0" y="0"/>
                  </a:moveTo>
                  <a:lnTo>
                    <a:pt x="41" y="0"/>
                  </a:lnTo>
                  <a:lnTo>
                    <a:pt x="41" y="105"/>
                  </a:lnTo>
                  <a:lnTo>
                    <a:pt x="0" y="105"/>
                  </a:lnTo>
                  <a:lnTo>
                    <a:pt x="0" y="0"/>
                  </a:lnTo>
                  <a:close/>
                  <a:moveTo>
                    <a:pt x="0" y="250"/>
                  </a:moveTo>
                  <a:lnTo>
                    <a:pt x="41" y="250"/>
                  </a:lnTo>
                  <a:lnTo>
                    <a:pt x="41" y="845"/>
                  </a:lnTo>
                  <a:lnTo>
                    <a:pt x="0" y="845"/>
                  </a:lnTo>
                  <a:lnTo>
                    <a:pt x="0" y="25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4" name="Freeform 40"/>
            <p:cNvSpPr>
              <a:spLocks/>
            </p:cNvSpPr>
            <p:nvPr userDrawn="1"/>
          </p:nvSpPr>
          <p:spPr bwMode="auto">
            <a:xfrm>
              <a:off x="3299" y="2378"/>
              <a:ext cx="210" cy="850"/>
            </a:xfrm>
            <a:custGeom>
              <a:avLst/>
              <a:gdLst>
                <a:gd name="T0" fmla="*/ 18 w 36"/>
                <a:gd name="T1" fmla="*/ 0 h 146"/>
                <a:gd name="T2" fmla="*/ 18 w 36"/>
                <a:gd name="T3" fmla="*/ 43 h 146"/>
                <a:gd name="T4" fmla="*/ 34 w 36"/>
                <a:gd name="T5" fmla="*/ 43 h 146"/>
                <a:gd name="T6" fmla="*/ 34 w 36"/>
                <a:gd name="T7" fmla="*/ 53 h 146"/>
                <a:gd name="T8" fmla="*/ 18 w 36"/>
                <a:gd name="T9" fmla="*/ 53 h 146"/>
                <a:gd name="T10" fmla="*/ 18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8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8" y="0"/>
                  </a:moveTo>
                  <a:cubicBezTo>
                    <a:pt x="18" y="43"/>
                    <a:pt x="18" y="43"/>
                    <a:pt x="18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9" y="53"/>
                    <a:pt x="24" y="53"/>
                    <a:pt x="18" y="53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3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7" name="Freeform 43"/>
            <p:cNvSpPr>
              <a:spLocks/>
            </p:cNvSpPr>
            <p:nvPr userDrawn="1"/>
          </p:nvSpPr>
          <p:spPr bwMode="auto">
            <a:xfrm>
              <a:off x="4295" y="2378"/>
              <a:ext cx="210" cy="850"/>
            </a:xfrm>
            <a:custGeom>
              <a:avLst/>
              <a:gdLst>
                <a:gd name="T0" fmla="*/ 19 w 36"/>
                <a:gd name="T1" fmla="*/ 0 h 146"/>
                <a:gd name="T2" fmla="*/ 19 w 36"/>
                <a:gd name="T3" fmla="*/ 43 h 146"/>
                <a:gd name="T4" fmla="*/ 35 w 36"/>
                <a:gd name="T5" fmla="*/ 43 h 146"/>
                <a:gd name="T6" fmla="*/ 35 w 36"/>
                <a:gd name="T7" fmla="*/ 53 h 146"/>
                <a:gd name="T8" fmla="*/ 19 w 36"/>
                <a:gd name="T9" fmla="*/ 53 h 146"/>
                <a:gd name="T10" fmla="*/ 19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9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9" y="0"/>
                  </a:moveTo>
                  <a:cubicBezTo>
                    <a:pt x="19" y="43"/>
                    <a:pt x="19" y="43"/>
                    <a:pt x="19" y="4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29" y="53"/>
                    <a:pt x="24" y="53"/>
                    <a:pt x="19" y="53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9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4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1" name="Freeform 37"/>
            <p:cNvSpPr>
              <a:spLocks noEditPoints="1"/>
            </p:cNvSpPr>
            <p:nvPr userDrawn="1"/>
          </p:nvSpPr>
          <p:spPr bwMode="auto">
            <a:xfrm>
              <a:off x="2402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2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9" y="93"/>
                    <a:pt x="22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8" name="Freeform 44"/>
            <p:cNvSpPr>
              <a:spLocks noEditPoints="1"/>
            </p:cNvSpPr>
            <p:nvPr userDrawn="1"/>
          </p:nvSpPr>
          <p:spPr bwMode="auto">
            <a:xfrm>
              <a:off x="4516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3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10" y="93"/>
                    <a:pt x="23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1832" y="2622"/>
              <a:ext cx="506" cy="601"/>
            </a:xfrm>
            <a:custGeom>
              <a:avLst/>
              <a:gdLst>
                <a:gd name="T0" fmla="*/ 47 w 87"/>
                <a:gd name="T1" fmla="*/ 103 h 103"/>
                <a:gd name="T2" fmla="*/ 40 w 87"/>
                <a:gd name="T3" fmla="*/ 103 h 103"/>
                <a:gd name="T4" fmla="*/ 40 w 87"/>
                <a:gd name="T5" fmla="*/ 28 h 103"/>
                <a:gd name="T6" fmla="*/ 24 w 87"/>
                <a:gd name="T7" fmla="*/ 9 h 103"/>
                <a:gd name="T8" fmla="*/ 7 w 87"/>
                <a:gd name="T9" fmla="*/ 31 h 103"/>
                <a:gd name="T10" fmla="*/ 7 w 87"/>
                <a:gd name="T11" fmla="*/ 103 h 103"/>
                <a:gd name="T12" fmla="*/ 0 w 87"/>
                <a:gd name="T13" fmla="*/ 103 h 103"/>
                <a:gd name="T14" fmla="*/ 0 w 87"/>
                <a:gd name="T15" fmla="*/ 1 h 103"/>
                <a:gd name="T16" fmla="*/ 7 w 87"/>
                <a:gd name="T17" fmla="*/ 1 h 103"/>
                <a:gd name="T18" fmla="*/ 7 w 87"/>
                <a:gd name="T19" fmla="*/ 11 h 103"/>
                <a:gd name="T20" fmla="*/ 25 w 87"/>
                <a:gd name="T21" fmla="*/ 0 h 103"/>
                <a:gd name="T22" fmla="*/ 44 w 87"/>
                <a:gd name="T23" fmla="*/ 15 h 103"/>
                <a:gd name="T24" fmla="*/ 64 w 87"/>
                <a:gd name="T25" fmla="*/ 1 h 103"/>
                <a:gd name="T26" fmla="*/ 87 w 87"/>
                <a:gd name="T27" fmla="*/ 29 h 103"/>
                <a:gd name="T28" fmla="*/ 87 w 87"/>
                <a:gd name="T29" fmla="*/ 103 h 103"/>
                <a:gd name="T30" fmla="*/ 80 w 87"/>
                <a:gd name="T31" fmla="*/ 103 h 103"/>
                <a:gd name="T32" fmla="*/ 80 w 87"/>
                <a:gd name="T33" fmla="*/ 29 h 103"/>
                <a:gd name="T34" fmla="*/ 64 w 87"/>
                <a:gd name="T35" fmla="*/ 10 h 103"/>
                <a:gd name="T36" fmla="*/ 47 w 87"/>
                <a:gd name="T37" fmla="*/ 28 h 103"/>
                <a:gd name="T38" fmla="*/ 47 w 87"/>
                <a:gd name="T3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" h="103">
                  <a:moveTo>
                    <a:pt x="47" y="103"/>
                  </a:moveTo>
                  <a:cubicBezTo>
                    <a:pt x="40" y="103"/>
                    <a:pt x="40" y="103"/>
                    <a:pt x="40" y="103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15"/>
                    <a:pt x="32" y="9"/>
                    <a:pt x="24" y="9"/>
                  </a:cubicBezTo>
                  <a:cubicBezTo>
                    <a:pt x="15" y="10"/>
                    <a:pt x="7" y="18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3"/>
                    <a:pt x="19" y="0"/>
                    <a:pt x="25" y="0"/>
                  </a:cubicBezTo>
                  <a:cubicBezTo>
                    <a:pt x="33" y="0"/>
                    <a:pt x="41" y="5"/>
                    <a:pt x="44" y="15"/>
                  </a:cubicBezTo>
                  <a:cubicBezTo>
                    <a:pt x="48" y="5"/>
                    <a:pt x="56" y="1"/>
                    <a:pt x="64" y="1"/>
                  </a:cubicBezTo>
                  <a:cubicBezTo>
                    <a:pt x="76" y="1"/>
                    <a:pt x="87" y="10"/>
                    <a:pt x="87" y="29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16"/>
                    <a:pt x="72" y="10"/>
                    <a:pt x="64" y="10"/>
                  </a:cubicBezTo>
                  <a:cubicBezTo>
                    <a:pt x="56" y="10"/>
                    <a:pt x="47" y="16"/>
                    <a:pt x="47" y="28"/>
                  </a:cubicBezTo>
                  <a:lnTo>
                    <a:pt x="47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2" name="Freeform 38"/>
            <p:cNvSpPr>
              <a:spLocks/>
            </p:cNvSpPr>
            <p:nvPr userDrawn="1"/>
          </p:nvSpPr>
          <p:spPr bwMode="auto">
            <a:xfrm>
              <a:off x="2822" y="2622"/>
              <a:ext cx="291" cy="612"/>
            </a:xfrm>
            <a:custGeom>
              <a:avLst/>
              <a:gdLst>
                <a:gd name="T0" fmla="*/ 50 w 50"/>
                <a:gd name="T1" fmla="*/ 76 h 105"/>
                <a:gd name="T2" fmla="*/ 35 w 50"/>
                <a:gd name="T3" fmla="*/ 102 h 105"/>
                <a:gd name="T4" fmla="*/ 35 w 50"/>
                <a:gd name="T5" fmla="*/ 102 h 105"/>
                <a:gd name="T6" fmla="*/ 15 w 50"/>
                <a:gd name="T7" fmla="*/ 102 h 105"/>
                <a:gd name="T8" fmla="*/ 0 w 50"/>
                <a:gd name="T9" fmla="*/ 76 h 105"/>
                <a:gd name="T10" fmla="*/ 0 w 50"/>
                <a:gd name="T11" fmla="*/ 29 h 105"/>
                <a:gd name="T12" fmla="*/ 15 w 50"/>
                <a:gd name="T13" fmla="*/ 2 h 105"/>
                <a:gd name="T14" fmla="*/ 25 w 50"/>
                <a:gd name="T15" fmla="*/ 0 h 105"/>
                <a:gd name="T16" fmla="*/ 35 w 50"/>
                <a:gd name="T17" fmla="*/ 2 h 105"/>
                <a:gd name="T18" fmla="*/ 50 w 50"/>
                <a:gd name="T19" fmla="*/ 29 h 105"/>
                <a:gd name="T20" fmla="*/ 44 w 50"/>
                <a:gd name="T21" fmla="*/ 29 h 105"/>
                <a:gd name="T22" fmla="*/ 33 w 50"/>
                <a:gd name="T23" fmla="*/ 12 h 105"/>
                <a:gd name="T24" fmla="*/ 25 w 50"/>
                <a:gd name="T25" fmla="*/ 11 h 105"/>
                <a:gd name="T26" fmla="*/ 17 w 50"/>
                <a:gd name="T27" fmla="*/ 12 h 105"/>
                <a:gd name="T28" fmla="*/ 7 w 50"/>
                <a:gd name="T29" fmla="*/ 29 h 105"/>
                <a:gd name="T30" fmla="*/ 7 w 50"/>
                <a:gd name="T31" fmla="*/ 76 h 105"/>
                <a:gd name="T32" fmla="*/ 17 w 50"/>
                <a:gd name="T33" fmla="*/ 92 h 105"/>
                <a:gd name="T34" fmla="*/ 33 w 50"/>
                <a:gd name="T35" fmla="*/ 92 h 105"/>
                <a:gd name="T36" fmla="*/ 33 w 50"/>
                <a:gd name="T37" fmla="*/ 92 h 105"/>
                <a:gd name="T38" fmla="*/ 44 w 50"/>
                <a:gd name="T39" fmla="*/ 76 h 105"/>
                <a:gd name="T40" fmla="*/ 50 w 50"/>
                <a:gd name="T41" fmla="*/ 7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105">
                  <a:moveTo>
                    <a:pt x="50" y="76"/>
                  </a:moveTo>
                  <a:cubicBezTo>
                    <a:pt x="50" y="90"/>
                    <a:pt x="44" y="99"/>
                    <a:pt x="35" y="102"/>
                  </a:cubicBezTo>
                  <a:cubicBezTo>
                    <a:pt x="35" y="102"/>
                    <a:pt x="35" y="102"/>
                    <a:pt x="35" y="102"/>
                  </a:cubicBezTo>
                  <a:cubicBezTo>
                    <a:pt x="29" y="105"/>
                    <a:pt x="22" y="105"/>
                    <a:pt x="15" y="102"/>
                  </a:cubicBezTo>
                  <a:cubicBezTo>
                    <a:pt x="7" y="99"/>
                    <a:pt x="0" y="90"/>
                    <a:pt x="0" y="7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18" y="1"/>
                    <a:pt x="22" y="0"/>
                    <a:pt x="25" y="0"/>
                  </a:cubicBezTo>
                  <a:cubicBezTo>
                    <a:pt x="28" y="0"/>
                    <a:pt x="32" y="1"/>
                    <a:pt x="35" y="2"/>
                  </a:cubicBezTo>
                  <a:cubicBezTo>
                    <a:pt x="44" y="6"/>
                    <a:pt x="50" y="15"/>
                    <a:pt x="50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0"/>
                    <a:pt x="39" y="15"/>
                    <a:pt x="33" y="12"/>
                  </a:cubicBezTo>
                  <a:cubicBezTo>
                    <a:pt x="31" y="11"/>
                    <a:pt x="28" y="11"/>
                    <a:pt x="25" y="11"/>
                  </a:cubicBezTo>
                  <a:cubicBezTo>
                    <a:pt x="22" y="11"/>
                    <a:pt x="20" y="11"/>
                    <a:pt x="17" y="12"/>
                  </a:cubicBezTo>
                  <a:cubicBezTo>
                    <a:pt x="12" y="14"/>
                    <a:pt x="7" y="19"/>
                    <a:pt x="7" y="29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7" y="85"/>
                    <a:pt x="12" y="90"/>
                    <a:pt x="17" y="92"/>
                  </a:cubicBezTo>
                  <a:cubicBezTo>
                    <a:pt x="22" y="95"/>
                    <a:pt x="28" y="95"/>
                    <a:pt x="33" y="92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9" y="90"/>
                    <a:pt x="44" y="85"/>
                    <a:pt x="44" y="76"/>
                  </a:cubicBezTo>
                  <a:lnTo>
                    <a:pt x="50" y="76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5" name="Freeform 41"/>
            <p:cNvSpPr>
              <a:spLocks noEditPoints="1"/>
            </p:cNvSpPr>
            <p:nvPr userDrawn="1"/>
          </p:nvSpPr>
          <p:spPr bwMode="auto">
            <a:xfrm>
              <a:off x="3573" y="2622"/>
              <a:ext cx="326" cy="606"/>
            </a:xfrm>
            <a:custGeom>
              <a:avLst/>
              <a:gdLst>
                <a:gd name="T0" fmla="*/ 7 w 56"/>
                <a:gd name="T1" fmla="*/ 75 h 104"/>
                <a:gd name="T2" fmla="*/ 8 w 56"/>
                <a:gd name="T3" fmla="*/ 84 h 104"/>
                <a:gd name="T4" fmla="*/ 20 w 56"/>
                <a:gd name="T5" fmla="*/ 93 h 104"/>
                <a:gd name="T6" fmla="*/ 30 w 56"/>
                <a:gd name="T7" fmla="*/ 93 h 104"/>
                <a:gd name="T8" fmla="*/ 43 w 56"/>
                <a:gd name="T9" fmla="*/ 82 h 104"/>
                <a:gd name="T10" fmla="*/ 49 w 56"/>
                <a:gd name="T11" fmla="*/ 88 h 104"/>
                <a:gd name="T12" fmla="*/ 31 w 56"/>
                <a:gd name="T13" fmla="*/ 103 h 104"/>
                <a:gd name="T14" fmla="*/ 19 w 56"/>
                <a:gd name="T15" fmla="*/ 103 h 104"/>
                <a:gd name="T16" fmla="*/ 3 w 56"/>
                <a:gd name="T17" fmla="*/ 90 h 104"/>
                <a:gd name="T18" fmla="*/ 0 w 56"/>
                <a:gd name="T19" fmla="*/ 74 h 104"/>
                <a:gd name="T20" fmla="*/ 0 w 56"/>
                <a:gd name="T21" fmla="*/ 28 h 104"/>
                <a:gd name="T22" fmla="*/ 15 w 56"/>
                <a:gd name="T23" fmla="*/ 2 h 104"/>
                <a:gd name="T24" fmla="*/ 35 w 56"/>
                <a:gd name="T25" fmla="*/ 2 h 104"/>
                <a:gd name="T26" fmla="*/ 39 w 56"/>
                <a:gd name="T27" fmla="*/ 59 h 104"/>
                <a:gd name="T28" fmla="*/ 7 w 56"/>
                <a:gd name="T29" fmla="*/ 64 h 104"/>
                <a:gd name="T30" fmla="*/ 7 w 56"/>
                <a:gd name="T31" fmla="*/ 75 h 104"/>
                <a:gd name="T32" fmla="*/ 7 w 56"/>
                <a:gd name="T33" fmla="*/ 55 h 104"/>
                <a:gd name="T34" fmla="*/ 36 w 56"/>
                <a:gd name="T35" fmla="*/ 50 h 104"/>
                <a:gd name="T36" fmla="*/ 33 w 56"/>
                <a:gd name="T37" fmla="*/ 12 h 104"/>
                <a:gd name="T38" fmla="*/ 17 w 56"/>
                <a:gd name="T39" fmla="*/ 12 h 104"/>
                <a:gd name="T40" fmla="*/ 7 w 56"/>
                <a:gd name="T41" fmla="*/ 28 h 104"/>
                <a:gd name="T42" fmla="*/ 7 w 56"/>
                <a:gd name="T43" fmla="*/ 5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104">
                  <a:moveTo>
                    <a:pt x="7" y="75"/>
                  </a:moveTo>
                  <a:cubicBezTo>
                    <a:pt x="7" y="78"/>
                    <a:pt x="7" y="81"/>
                    <a:pt x="8" y="84"/>
                  </a:cubicBezTo>
                  <a:cubicBezTo>
                    <a:pt x="11" y="88"/>
                    <a:pt x="15" y="92"/>
                    <a:pt x="20" y="93"/>
                  </a:cubicBezTo>
                  <a:cubicBezTo>
                    <a:pt x="23" y="94"/>
                    <a:pt x="27" y="94"/>
                    <a:pt x="30" y="93"/>
                  </a:cubicBezTo>
                  <a:cubicBezTo>
                    <a:pt x="35" y="92"/>
                    <a:pt x="40" y="89"/>
                    <a:pt x="43" y="82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97"/>
                    <a:pt x="38" y="102"/>
                    <a:pt x="31" y="103"/>
                  </a:cubicBezTo>
                  <a:cubicBezTo>
                    <a:pt x="27" y="104"/>
                    <a:pt x="23" y="104"/>
                    <a:pt x="19" y="103"/>
                  </a:cubicBezTo>
                  <a:cubicBezTo>
                    <a:pt x="13" y="102"/>
                    <a:pt x="6" y="97"/>
                    <a:pt x="3" y="90"/>
                  </a:cubicBezTo>
                  <a:cubicBezTo>
                    <a:pt x="1" y="85"/>
                    <a:pt x="0" y="80"/>
                    <a:pt x="0" y="7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22" y="0"/>
                    <a:pt x="29" y="0"/>
                    <a:pt x="35" y="2"/>
                  </a:cubicBezTo>
                  <a:cubicBezTo>
                    <a:pt x="53" y="10"/>
                    <a:pt x="56" y="46"/>
                    <a:pt x="39" y="59"/>
                  </a:cubicBezTo>
                  <a:cubicBezTo>
                    <a:pt x="30" y="67"/>
                    <a:pt x="16" y="64"/>
                    <a:pt x="7" y="64"/>
                  </a:cubicBezTo>
                  <a:lnTo>
                    <a:pt x="7" y="75"/>
                  </a:lnTo>
                  <a:close/>
                  <a:moveTo>
                    <a:pt x="7" y="55"/>
                  </a:moveTo>
                  <a:cubicBezTo>
                    <a:pt x="13" y="55"/>
                    <a:pt x="27" y="57"/>
                    <a:pt x="36" y="50"/>
                  </a:cubicBezTo>
                  <a:cubicBezTo>
                    <a:pt x="47" y="42"/>
                    <a:pt x="45" y="17"/>
                    <a:pt x="33" y="12"/>
                  </a:cubicBezTo>
                  <a:cubicBezTo>
                    <a:pt x="28" y="10"/>
                    <a:pt x="22" y="10"/>
                    <a:pt x="17" y="12"/>
                  </a:cubicBezTo>
                  <a:cubicBezTo>
                    <a:pt x="11" y="15"/>
                    <a:pt x="7" y="20"/>
                    <a:pt x="7" y="28"/>
                  </a:cubicBezTo>
                  <a:lnTo>
                    <a:pt x="7" y="55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6" name="Freeform 42"/>
            <p:cNvSpPr>
              <a:spLocks/>
            </p:cNvSpPr>
            <p:nvPr userDrawn="1"/>
          </p:nvSpPr>
          <p:spPr bwMode="auto">
            <a:xfrm>
              <a:off x="3934" y="2622"/>
              <a:ext cx="297" cy="601"/>
            </a:xfrm>
            <a:custGeom>
              <a:avLst/>
              <a:gdLst>
                <a:gd name="T0" fmla="*/ 44 w 51"/>
                <a:gd name="T1" fmla="*/ 103 h 103"/>
                <a:gd name="T2" fmla="*/ 44 w 51"/>
                <a:gd name="T3" fmla="*/ 29 h 103"/>
                <a:gd name="T4" fmla="*/ 26 w 51"/>
                <a:gd name="T5" fmla="*/ 10 h 103"/>
                <a:gd name="T6" fmla="*/ 7 w 51"/>
                <a:gd name="T7" fmla="*/ 31 h 103"/>
                <a:gd name="T8" fmla="*/ 7 w 51"/>
                <a:gd name="T9" fmla="*/ 103 h 103"/>
                <a:gd name="T10" fmla="*/ 0 w 51"/>
                <a:gd name="T11" fmla="*/ 103 h 103"/>
                <a:gd name="T12" fmla="*/ 0 w 51"/>
                <a:gd name="T13" fmla="*/ 1 h 103"/>
                <a:gd name="T14" fmla="*/ 7 w 51"/>
                <a:gd name="T15" fmla="*/ 1 h 103"/>
                <a:gd name="T16" fmla="*/ 7 w 51"/>
                <a:gd name="T17" fmla="*/ 11 h 103"/>
                <a:gd name="T18" fmla="*/ 26 w 51"/>
                <a:gd name="T19" fmla="*/ 0 h 103"/>
                <a:gd name="T20" fmla="*/ 51 w 51"/>
                <a:gd name="T21" fmla="*/ 29 h 103"/>
                <a:gd name="T22" fmla="*/ 51 w 51"/>
                <a:gd name="T23" fmla="*/ 103 h 103"/>
                <a:gd name="T24" fmla="*/ 44 w 51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5" y="10"/>
                    <a:pt x="26" y="10"/>
                  </a:cubicBezTo>
                  <a:cubicBezTo>
                    <a:pt x="17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6" y="0"/>
                  </a:cubicBezTo>
                  <a:cubicBezTo>
                    <a:pt x="38" y="0"/>
                    <a:pt x="51" y="9"/>
                    <a:pt x="51" y="29"/>
                  </a:cubicBezTo>
                  <a:cubicBezTo>
                    <a:pt x="51" y="103"/>
                    <a:pt x="51" y="103"/>
                    <a:pt x="51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9" name="Freeform 45"/>
            <p:cNvSpPr>
              <a:spLocks/>
            </p:cNvSpPr>
            <p:nvPr userDrawn="1"/>
          </p:nvSpPr>
          <p:spPr bwMode="auto">
            <a:xfrm>
              <a:off x="4953" y="2622"/>
              <a:ext cx="291" cy="601"/>
            </a:xfrm>
            <a:custGeom>
              <a:avLst/>
              <a:gdLst>
                <a:gd name="T0" fmla="*/ 44 w 50"/>
                <a:gd name="T1" fmla="*/ 103 h 103"/>
                <a:gd name="T2" fmla="*/ 44 w 50"/>
                <a:gd name="T3" fmla="*/ 29 h 103"/>
                <a:gd name="T4" fmla="*/ 25 w 50"/>
                <a:gd name="T5" fmla="*/ 10 h 103"/>
                <a:gd name="T6" fmla="*/ 7 w 50"/>
                <a:gd name="T7" fmla="*/ 31 h 103"/>
                <a:gd name="T8" fmla="*/ 7 w 50"/>
                <a:gd name="T9" fmla="*/ 103 h 103"/>
                <a:gd name="T10" fmla="*/ 0 w 50"/>
                <a:gd name="T11" fmla="*/ 103 h 103"/>
                <a:gd name="T12" fmla="*/ 0 w 50"/>
                <a:gd name="T13" fmla="*/ 1 h 103"/>
                <a:gd name="T14" fmla="*/ 7 w 50"/>
                <a:gd name="T15" fmla="*/ 1 h 103"/>
                <a:gd name="T16" fmla="*/ 7 w 50"/>
                <a:gd name="T17" fmla="*/ 11 h 103"/>
                <a:gd name="T18" fmla="*/ 25 w 50"/>
                <a:gd name="T19" fmla="*/ 0 h 103"/>
                <a:gd name="T20" fmla="*/ 50 w 50"/>
                <a:gd name="T21" fmla="*/ 29 h 103"/>
                <a:gd name="T22" fmla="*/ 50 w 50"/>
                <a:gd name="T23" fmla="*/ 103 h 103"/>
                <a:gd name="T24" fmla="*/ 44 w 50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4" y="10"/>
                    <a:pt x="25" y="10"/>
                  </a:cubicBezTo>
                  <a:cubicBezTo>
                    <a:pt x="16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5" y="0"/>
                  </a:cubicBezTo>
                  <a:cubicBezTo>
                    <a:pt x="38" y="0"/>
                    <a:pt x="50" y="9"/>
                    <a:pt x="50" y="29"/>
                  </a:cubicBezTo>
                  <a:cubicBezTo>
                    <a:pt x="50" y="103"/>
                    <a:pt x="50" y="103"/>
                    <a:pt x="50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grpSp>
        <p:nvGrpSpPr>
          <p:cNvPr id="2" name="Group 8"/>
          <p:cNvGrpSpPr>
            <a:grpSpLocks noChangeAspect="1"/>
          </p:cNvGrpSpPr>
          <p:nvPr userDrawn="1"/>
        </p:nvGrpSpPr>
        <p:grpSpPr bwMode="auto">
          <a:xfrm>
            <a:off x="10208146" y="5766392"/>
            <a:ext cx="1649421" cy="887653"/>
            <a:chOff x="4458" y="2489"/>
            <a:chExt cx="1022" cy="550"/>
          </a:xfrm>
        </p:grpSpPr>
        <p:sp>
          <p:nvSpPr>
            <p:cNvPr id="8" name="Freeform 12"/>
            <p:cNvSpPr>
              <a:spLocks noEditPoints="1"/>
            </p:cNvSpPr>
            <p:nvPr userDrawn="1"/>
          </p:nvSpPr>
          <p:spPr bwMode="auto">
            <a:xfrm>
              <a:off x="4458" y="2489"/>
              <a:ext cx="517" cy="320"/>
            </a:xfrm>
            <a:custGeom>
              <a:avLst/>
              <a:gdLst>
                <a:gd name="T0" fmla="*/ 1280 w 4081"/>
                <a:gd name="T1" fmla="*/ 2149 h 2517"/>
                <a:gd name="T2" fmla="*/ 1557 w 4081"/>
                <a:gd name="T3" fmla="*/ 2392 h 2517"/>
                <a:gd name="T4" fmla="*/ 1280 w 4081"/>
                <a:gd name="T5" fmla="*/ 2149 h 2517"/>
                <a:gd name="T6" fmla="*/ 1136 w 4081"/>
                <a:gd name="T7" fmla="*/ 2284 h 2517"/>
                <a:gd name="T8" fmla="*/ 1082 w 4081"/>
                <a:gd name="T9" fmla="*/ 2094 h 2517"/>
                <a:gd name="T10" fmla="*/ 948 w 4081"/>
                <a:gd name="T11" fmla="*/ 2190 h 2517"/>
                <a:gd name="T12" fmla="*/ 1136 w 4081"/>
                <a:gd name="T13" fmla="*/ 2284 h 2517"/>
                <a:gd name="T14" fmla="*/ 524 w 4081"/>
                <a:gd name="T15" fmla="*/ 1811 h 2517"/>
                <a:gd name="T16" fmla="*/ 702 w 4081"/>
                <a:gd name="T17" fmla="*/ 2172 h 2517"/>
                <a:gd name="T18" fmla="*/ 524 w 4081"/>
                <a:gd name="T19" fmla="*/ 1811 h 2517"/>
                <a:gd name="T20" fmla="*/ 526 w 4081"/>
                <a:gd name="T21" fmla="*/ 1307 h 2517"/>
                <a:gd name="T22" fmla="*/ 559 w 4081"/>
                <a:gd name="T23" fmla="*/ 1513 h 2517"/>
                <a:gd name="T24" fmla="*/ 653 w 4081"/>
                <a:gd name="T25" fmla="*/ 1160 h 2517"/>
                <a:gd name="T26" fmla="*/ 526 w 4081"/>
                <a:gd name="T27" fmla="*/ 1307 h 2517"/>
                <a:gd name="T28" fmla="*/ 871 w 4081"/>
                <a:gd name="T29" fmla="*/ 1374 h 2517"/>
                <a:gd name="T30" fmla="*/ 882 w 4081"/>
                <a:gd name="T31" fmla="*/ 1723 h 2517"/>
                <a:gd name="T32" fmla="*/ 871 w 4081"/>
                <a:gd name="T33" fmla="*/ 1374 h 2517"/>
                <a:gd name="T34" fmla="*/ 1600 w 4081"/>
                <a:gd name="T35" fmla="*/ 344 h 2517"/>
                <a:gd name="T36" fmla="*/ 1560 w 4081"/>
                <a:gd name="T37" fmla="*/ 379 h 2517"/>
                <a:gd name="T38" fmla="*/ 1837 w 4081"/>
                <a:gd name="T39" fmla="*/ 332 h 2517"/>
                <a:gd name="T40" fmla="*/ 1600 w 4081"/>
                <a:gd name="T41" fmla="*/ 344 h 2517"/>
                <a:gd name="T42" fmla="*/ 1114 w 4081"/>
                <a:gd name="T43" fmla="*/ 561 h 2517"/>
                <a:gd name="T44" fmla="*/ 1418 w 4081"/>
                <a:gd name="T45" fmla="*/ 420 h 2517"/>
                <a:gd name="T46" fmla="*/ 1114 w 4081"/>
                <a:gd name="T47" fmla="*/ 561 h 2517"/>
                <a:gd name="T48" fmla="*/ 1453 w 4081"/>
                <a:gd name="T49" fmla="*/ 582 h 2517"/>
                <a:gd name="T50" fmla="*/ 1259 w 4081"/>
                <a:gd name="T51" fmla="*/ 676 h 2517"/>
                <a:gd name="T52" fmla="*/ 1405 w 4081"/>
                <a:gd name="T53" fmla="*/ 651 h 2517"/>
                <a:gd name="T54" fmla="*/ 1453 w 4081"/>
                <a:gd name="T55" fmla="*/ 582 h 2517"/>
                <a:gd name="T56" fmla="*/ 912 w 4081"/>
                <a:gd name="T57" fmla="*/ 1018 h 2517"/>
                <a:gd name="T58" fmla="*/ 1053 w 4081"/>
                <a:gd name="T59" fmla="*/ 995 h 2517"/>
                <a:gd name="T60" fmla="*/ 912 w 4081"/>
                <a:gd name="T61" fmla="*/ 1018 h 2517"/>
                <a:gd name="T62" fmla="*/ 871 w 4081"/>
                <a:gd name="T63" fmla="*/ 724 h 2517"/>
                <a:gd name="T64" fmla="*/ 777 w 4081"/>
                <a:gd name="T65" fmla="*/ 817 h 2517"/>
                <a:gd name="T66" fmla="*/ 937 w 4081"/>
                <a:gd name="T67" fmla="*/ 825 h 2517"/>
                <a:gd name="T68" fmla="*/ 871 w 4081"/>
                <a:gd name="T69" fmla="*/ 724 h 2517"/>
                <a:gd name="T70" fmla="*/ 1064 w 4081"/>
                <a:gd name="T71" fmla="*/ 1215 h 2517"/>
                <a:gd name="T72" fmla="*/ 1104 w 4081"/>
                <a:gd name="T73" fmla="*/ 1345 h 2517"/>
                <a:gd name="T74" fmla="*/ 1179 w 4081"/>
                <a:gd name="T75" fmla="*/ 1037 h 2517"/>
                <a:gd name="T76" fmla="*/ 1064 w 4081"/>
                <a:gd name="T77" fmla="*/ 1215 h 2517"/>
                <a:gd name="T78" fmla="*/ 1078 w 4081"/>
                <a:gd name="T79" fmla="*/ 1767 h 2517"/>
                <a:gd name="T80" fmla="*/ 1195 w 4081"/>
                <a:gd name="T81" fmla="*/ 1717 h 2517"/>
                <a:gd name="T82" fmla="*/ 1078 w 4081"/>
                <a:gd name="T83" fmla="*/ 1767 h 2517"/>
                <a:gd name="T84" fmla="*/ 339 w 4081"/>
                <a:gd name="T85" fmla="*/ 1073 h 2517"/>
                <a:gd name="T86" fmla="*/ 1357 w 4081"/>
                <a:gd name="T87" fmla="*/ 200 h 2517"/>
                <a:gd name="T88" fmla="*/ 4081 w 4081"/>
                <a:gd name="T89" fmla="*/ 1257 h 2517"/>
                <a:gd name="T90" fmla="*/ 1260 w 4081"/>
                <a:gd name="T91" fmla="*/ 336 h 2517"/>
                <a:gd name="T92" fmla="*/ 497 w 4081"/>
                <a:gd name="T93" fmla="*/ 2517 h 2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81" h="2517">
                  <a:moveTo>
                    <a:pt x="1280" y="2149"/>
                  </a:moveTo>
                  <a:lnTo>
                    <a:pt x="1280" y="2149"/>
                  </a:lnTo>
                  <a:cubicBezTo>
                    <a:pt x="1255" y="2174"/>
                    <a:pt x="1292" y="2247"/>
                    <a:pt x="1359" y="2314"/>
                  </a:cubicBezTo>
                  <a:cubicBezTo>
                    <a:pt x="1419" y="2375"/>
                    <a:pt x="1535" y="2439"/>
                    <a:pt x="1557" y="2392"/>
                  </a:cubicBezTo>
                  <a:cubicBezTo>
                    <a:pt x="1567" y="2369"/>
                    <a:pt x="1536" y="2315"/>
                    <a:pt x="1459" y="2238"/>
                  </a:cubicBezTo>
                  <a:cubicBezTo>
                    <a:pt x="1382" y="2161"/>
                    <a:pt x="1305" y="2124"/>
                    <a:pt x="1280" y="2149"/>
                  </a:cubicBezTo>
                  <a:lnTo>
                    <a:pt x="1280" y="2149"/>
                  </a:lnTo>
                  <a:close/>
                  <a:moveTo>
                    <a:pt x="1136" y="2284"/>
                  </a:moveTo>
                  <a:lnTo>
                    <a:pt x="1136" y="2284"/>
                  </a:lnTo>
                  <a:cubicBezTo>
                    <a:pt x="1173" y="2256"/>
                    <a:pt x="1142" y="2170"/>
                    <a:pt x="1082" y="2094"/>
                  </a:cubicBezTo>
                  <a:cubicBezTo>
                    <a:pt x="1013" y="2005"/>
                    <a:pt x="937" y="1957"/>
                    <a:pt x="900" y="1985"/>
                  </a:cubicBezTo>
                  <a:cubicBezTo>
                    <a:pt x="863" y="2014"/>
                    <a:pt x="885" y="2107"/>
                    <a:pt x="948" y="2190"/>
                  </a:cubicBezTo>
                  <a:cubicBezTo>
                    <a:pt x="1010" y="2272"/>
                    <a:pt x="1095" y="2317"/>
                    <a:pt x="1136" y="2284"/>
                  </a:cubicBezTo>
                  <a:lnTo>
                    <a:pt x="1136" y="2284"/>
                  </a:lnTo>
                  <a:close/>
                  <a:moveTo>
                    <a:pt x="524" y="1811"/>
                  </a:moveTo>
                  <a:lnTo>
                    <a:pt x="524" y="1811"/>
                  </a:lnTo>
                  <a:cubicBezTo>
                    <a:pt x="479" y="1833"/>
                    <a:pt x="487" y="1931"/>
                    <a:pt x="532" y="2034"/>
                  </a:cubicBezTo>
                  <a:cubicBezTo>
                    <a:pt x="583" y="2150"/>
                    <a:pt x="659" y="2189"/>
                    <a:pt x="702" y="2172"/>
                  </a:cubicBezTo>
                  <a:cubicBezTo>
                    <a:pt x="749" y="2154"/>
                    <a:pt x="749" y="2064"/>
                    <a:pt x="695" y="1954"/>
                  </a:cubicBezTo>
                  <a:cubicBezTo>
                    <a:pt x="645" y="1854"/>
                    <a:pt x="569" y="1789"/>
                    <a:pt x="524" y="1811"/>
                  </a:cubicBezTo>
                  <a:lnTo>
                    <a:pt x="524" y="1811"/>
                  </a:lnTo>
                  <a:close/>
                  <a:moveTo>
                    <a:pt x="526" y="1307"/>
                  </a:moveTo>
                  <a:lnTo>
                    <a:pt x="526" y="1307"/>
                  </a:lnTo>
                  <a:cubicBezTo>
                    <a:pt x="496" y="1408"/>
                    <a:pt x="509" y="1499"/>
                    <a:pt x="559" y="1513"/>
                  </a:cubicBezTo>
                  <a:cubicBezTo>
                    <a:pt x="608" y="1526"/>
                    <a:pt x="657" y="1469"/>
                    <a:pt x="683" y="1361"/>
                  </a:cubicBezTo>
                  <a:cubicBezTo>
                    <a:pt x="707" y="1261"/>
                    <a:pt x="696" y="1174"/>
                    <a:pt x="653" y="1160"/>
                  </a:cubicBezTo>
                  <a:cubicBezTo>
                    <a:pt x="610" y="1145"/>
                    <a:pt x="555" y="1209"/>
                    <a:pt x="526" y="1307"/>
                  </a:cubicBezTo>
                  <a:lnTo>
                    <a:pt x="526" y="1307"/>
                  </a:lnTo>
                  <a:close/>
                  <a:moveTo>
                    <a:pt x="871" y="1374"/>
                  </a:moveTo>
                  <a:lnTo>
                    <a:pt x="871" y="1374"/>
                  </a:lnTo>
                  <a:cubicBezTo>
                    <a:pt x="823" y="1382"/>
                    <a:pt x="793" y="1454"/>
                    <a:pt x="795" y="1552"/>
                  </a:cubicBezTo>
                  <a:cubicBezTo>
                    <a:pt x="798" y="1650"/>
                    <a:pt x="840" y="1728"/>
                    <a:pt x="882" y="1723"/>
                  </a:cubicBezTo>
                  <a:cubicBezTo>
                    <a:pt x="927" y="1718"/>
                    <a:pt x="952" y="1645"/>
                    <a:pt x="952" y="1547"/>
                  </a:cubicBezTo>
                  <a:cubicBezTo>
                    <a:pt x="952" y="1454"/>
                    <a:pt x="916" y="1368"/>
                    <a:pt x="871" y="1374"/>
                  </a:cubicBezTo>
                  <a:lnTo>
                    <a:pt x="871" y="1374"/>
                  </a:lnTo>
                  <a:close/>
                  <a:moveTo>
                    <a:pt x="1600" y="344"/>
                  </a:moveTo>
                  <a:lnTo>
                    <a:pt x="1600" y="344"/>
                  </a:lnTo>
                  <a:cubicBezTo>
                    <a:pt x="1574" y="353"/>
                    <a:pt x="1559" y="369"/>
                    <a:pt x="1560" y="379"/>
                  </a:cubicBezTo>
                  <a:cubicBezTo>
                    <a:pt x="1563" y="411"/>
                    <a:pt x="1699" y="395"/>
                    <a:pt x="1778" y="369"/>
                  </a:cubicBezTo>
                  <a:cubicBezTo>
                    <a:pt x="1816" y="357"/>
                    <a:pt x="1836" y="343"/>
                    <a:pt x="1837" y="332"/>
                  </a:cubicBezTo>
                  <a:cubicBezTo>
                    <a:pt x="1840" y="290"/>
                    <a:pt x="1662" y="322"/>
                    <a:pt x="1600" y="344"/>
                  </a:cubicBezTo>
                  <a:lnTo>
                    <a:pt x="1600" y="344"/>
                  </a:lnTo>
                  <a:close/>
                  <a:moveTo>
                    <a:pt x="1114" y="561"/>
                  </a:moveTo>
                  <a:lnTo>
                    <a:pt x="1114" y="561"/>
                  </a:lnTo>
                  <a:cubicBezTo>
                    <a:pt x="1140" y="600"/>
                    <a:pt x="1278" y="534"/>
                    <a:pt x="1350" y="496"/>
                  </a:cubicBezTo>
                  <a:cubicBezTo>
                    <a:pt x="1397" y="471"/>
                    <a:pt x="1437" y="439"/>
                    <a:pt x="1418" y="420"/>
                  </a:cubicBezTo>
                  <a:cubicBezTo>
                    <a:pt x="1394" y="396"/>
                    <a:pt x="1318" y="415"/>
                    <a:pt x="1202" y="473"/>
                  </a:cubicBezTo>
                  <a:cubicBezTo>
                    <a:pt x="1146" y="501"/>
                    <a:pt x="1101" y="541"/>
                    <a:pt x="1114" y="561"/>
                  </a:cubicBezTo>
                  <a:lnTo>
                    <a:pt x="1114" y="561"/>
                  </a:lnTo>
                  <a:close/>
                  <a:moveTo>
                    <a:pt x="1453" y="582"/>
                  </a:moveTo>
                  <a:lnTo>
                    <a:pt x="1453" y="582"/>
                  </a:lnTo>
                  <a:cubicBezTo>
                    <a:pt x="1457" y="540"/>
                    <a:pt x="1358" y="575"/>
                    <a:pt x="1259" y="676"/>
                  </a:cubicBezTo>
                  <a:cubicBezTo>
                    <a:pt x="1241" y="694"/>
                    <a:pt x="1188" y="761"/>
                    <a:pt x="1211" y="776"/>
                  </a:cubicBezTo>
                  <a:cubicBezTo>
                    <a:pt x="1243" y="796"/>
                    <a:pt x="1361" y="696"/>
                    <a:pt x="1405" y="651"/>
                  </a:cubicBezTo>
                  <a:cubicBezTo>
                    <a:pt x="1439" y="617"/>
                    <a:pt x="1452" y="595"/>
                    <a:pt x="1453" y="582"/>
                  </a:cubicBezTo>
                  <a:lnTo>
                    <a:pt x="1453" y="582"/>
                  </a:lnTo>
                  <a:close/>
                  <a:moveTo>
                    <a:pt x="912" y="1018"/>
                  </a:moveTo>
                  <a:lnTo>
                    <a:pt x="912" y="1018"/>
                  </a:lnTo>
                  <a:cubicBezTo>
                    <a:pt x="881" y="1079"/>
                    <a:pt x="871" y="1157"/>
                    <a:pt x="905" y="1166"/>
                  </a:cubicBezTo>
                  <a:cubicBezTo>
                    <a:pt x="942" y="1176"/>
                    <a:pt x="1013" y="1078"/>
                    <a:pt x="1053" y="995"/>
                  </a:cubicBezTo>
                  <a:cubicBezTo>
                    <a:pt x="1074" y="953"/>
                    <a:pt x="1098" y="891"/>
                    <a:pt x="1082" y="871"/>
                  </a:cubicBezTo>
                  <a:cubicBezTo>
                    <a:pt x="1042" y="822"/>
                    <a:pt x="952" y="939"/>
                    <a:pt x="912" y="1018"/>
                  </a:cubicBezTo>
                  <a:lnTo>
                    <a:pt x="912" y="1018"/>
                  </a:lnTo>
                  <a:close/>
                  <a:moveTo>
                    <a:pt x="871" y="724"/>
                  </a:moveTo>
                  <a:lnTo>
                    <a:pt x="871" y="724"/>
                  </a:lnTo>
                  <a:cubicBezTo>
                    <a:pt x="841" y="746"/>
                    <a:pt x="803" y="784"/>
                    <a:pt x="777" y="817"/>
                  </a:cubicBezTo>
                  <a:cubicBezTo>
                    <a:pt x="718" y="891"/>
                    <a:pt x="720" y="943"/>
                    <a:pt x="762" y="950"/>
                  </a:cubicBezTo>
                  <a:cubicBezTo>
                    <a:pt x="798" y="957"/>
                    <a:pt x="880" y="897"/>
                    <a:pt x="937" y="825"/>
                  </a:cubicBezTo>
                  <a:cubicBezTo>
                    <a:pt x="998" y="757"/>
                    <a:pt x="1009" y="704"/>
                    <a:pt x="974" y="687"/>
                  </a:cubicBezTo>
                  <a:cubicBezTo>
                    <a:pt x="952" y="677"/>
                    <a:pt x="929" y="681"/>
                    <a:pt x="871" y="724"/>
                  </a:cubicBezTo>
                  <a:lnTo>
                    <a:pt x="871" y="724"/>
                  </a:lnTo>
                  <a:close/>
                  <a:moveTo>
                    <a:pt x="1064" y="1215"/>
                  </a:moveTo>
                  <a:lnTo>
                    <a:pt x="1064" y="1215"/>
                  </a:lnTo>
                  <a:cubicBezTo>
                    <a:pt x="1051" y="1270"/>
                    <a:pt x="1053" y="1374"/>
                    <a:pt x="1104" y="1345"/>
                  </a:cubicBezTo>
                  <a:cubicBezTo>
                    <a:pt x="1148" y="1320"/>
                    <a:pt x="1177" y="1206"/>
                    <a:pt x="1189" y="1146"/>
                  </a:cubicBezTo>
                  <a:cubicBezTo>
                    <a:pt x="1195" y="1119"/>
                    <a:pt x="1201" y="1046"/>
                    <a:pt x="1179" y="1037"/>
                  </a:cubicBezTo>
                  <a:cubicBezTo>
                    <a:pt x="1128" y="1015"/>
                    <a:pt x="1087" y="1122"/>
                    <a:pt x="1064" y="1215"/>
                  </a:cubicBezTo>
                  <a:lnTo>
                    <a:pt x="1064" y="1215"/>
                  </a:lnTo>
                  <a:close/>
                  <a:moveTo>
                    <a:pt x="1078" y="1767"/>
                  </a:moveTo>
                  <a:lnTo>
                    <a:pt x="1078" y="1767"/>
                  </a:lnTo>
                  <a:cubicBezTo>
                    <a:pt x="1092" y="1831"/>
                    <a:pt x="1151" y="1954"/>
                    <a:pt x="1203" y="1925"/>
                  </a:cubicBezTo>
                  <a:cubicBezTo>
                    <a:pt x="1252" y="1897"/>
                    <a:pt x="1204" y="1744"/>
                    <a:pt x="1195" y="1717"/>
                  </a:cubicBezTo>
                  <a:cubicBezTo>
                    <a:pt x="1177" y="1661"/>
                    <a:pt x="1140" y="1570"/>
                    <a:pt x="1091" y="1585"/>
                  </a:cubicBezTo>
                  <a:cubicBezTo>
                    <a:pt x="1052" y="1596"/>
                    <a:pt x="1064" y="1705"/>
                    <a:pt x="1078" y="1767"/>
                  </a:cubicBezTo>
                  <a:lnTo>
                    <a:pt x="1078" y="1767"/>
                  </a:lnTo>
                  <a:close/>
                  <a:moveTo>
                    <a:pt x="339" y="1073"/>
                  </a:moveTo>
                  <a:lnTo>
                    <a:pt x="339" y="1073"/>
                  </a:lnTo>
                  <a:cubicBezTo>
                    <a:pt x="354" y="1038"/>
                    <a:pt x="633" y="367"/>
                    <a:pt x="1357" y="200"/>
                  </a:cubicBezTo>
                  <a:cubicBezTo>
                    <a:pt x="1575" y="135"/>
                    <a:pt x="2066" y="95"/>
                    <a:pt x="2403" y="125"/>
                  </a:cubicBezTo>
                  <a:cubicBezTo>
                    <a:pt x="3685" y="237"/>
                    <a:pt x="3958" y="852"/>
                    <a:pt x="4081" y="1257"/>
                  </a:cubicBezTo>
                  <a:lnTo>
                    <a:pt x="3095" y="1257"/>
                  </a:lnTo>
                  <a:cubicBezTo>
                    <a:pt x="2847" y="558"/>
                    <a:pt x="2152" y="0"/>
                    <a:pt x="1260" y="336"/>
                  </a:cubicBezTo>
                  <a:cubicBezTo>
                    <a:pt x="416" y="654"/>
                    <a:pt x="10" y="1733"/>
                    <a:pt x="630" y="2517"/>
                  </a:cubicBezTo>
                  <a:lnTo>
                    <a:pt x="497" y="2517"/>
                  </a:lnTo>
                  <a:cubicBezTo>
                    <a:pt x="0" y="1834"/>
                    <a:pt x="323" y="1109"/>
                    <a:pt x="339" y="1073"/>
                  </a:cubicBezTo>
                  <a:close/>
                </a:path>
              </a:pathLst>
            </a:custGeom>
            <a:solidFill>
              <a:srgbClr val="EC114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7" name="Freeform 11"/>
            <p:cNvSpPr>
              <a:spLocks noEditPoints="1"/>
            </p:cNvSpPr>
            <p:nvPr userDrawn="1"/>
          </p:nvSpPr>
          <p:spPr bwMode="auto">
            <a:xfrm>
              <a:off x="4747" y="2731"/>
              <a:ext cx="733" cy="124"/>
            </a:xfrm>
            <a:custGeom>
              <a:avLst/>
              <a:gdLst>
                <a:gd name="T0" fmla="*/ 5032 w 5777"/>
                <a:gd name="T1" fmla="*/ 960 h 975"/>
                <a:gd name="T2" fmla="*/ 5169 w 5777"/>
                <a:gd name="T3" fmla="*/ 0 h 975"/>
                <a:gd name="T4" fmla="*/ 5574 w 5777"/>
                <a:gd name="T5" fmla="*/ 621 h 975"/>
                <a:gd name="T6" fmla="*/ 5578 w 5777"/>
                <a:gd name="T7" fmla="*/ 15 h 975"/>
                <a:gd name="T8" fmla="*/ 5777 w 5777"/>
                <a:gd name="T9" fmla="*/ 839 h 975"/>
                <a:gd name="T10" fmla="*/ 5502 w 5777"/>
                <a:gd name="T11" fmla="*/ 834 h 975"/>
                <a:gd name="T12" fmla="*/ 5231 w 5777"/>
                <a:gd name="T13" fmla="*/ 285 h 975"/>
                <a:gd name="T14" fmla="*/ 5032 w 5777"/>
                <a:gd name="T15" fmla="*/ 960 h 975"/>
                <a:gd name="T16" fmla="*/ 4403 w 5777"/>
                <a:gd name="T17" fmla="*/ 0 h 975"/>
                <a:gd name="T18" fmla="*/ 3921 w 5777"/>
                <a:gd name="T19" fmla="*/ 488 h 975"/>
                <a:gd name="T20" fmla="*/ 4884 w 5777"/>
                <a:gd name="T21" fmla="*/ 488 h 975"/>
                <a:gd name="T22" fmla="*/ 4403 w 5777"/>
                <a:gd name="T23" fmla="*/ 0 h 975"/>
                <a:gd name="T24" fmla="*/ 4403 w 5777"/>
                <a:gd name="T25" fmla="*/ 194 h 975"/>
                <a:gd name="T26" fmla="*/ 4403 w 5777"/>
                <a:gd name="T27" fmla="*/ 780 h 975"/>
                <a:gd name="T28" fmla="*/ 4403 w 5777"/>
                <a:gd name="T29" fmla="*/ 194 h 975"/>
                <a:gd name="T30" fmla="*/ 3577 w 5777"/>
                <a:gd name="T31" fmla="*/ 15 h 975"/>
                <a:gd name="T32" fmla="*/ 3776 w 5777"/>
                <a:gd name="T33" fmla="*/ 15 h 975"/>
                <a:gd name="T34" fmla="*/ 3577 w 5777"/>
                <a:gd name="T35" fmla="*/ 960 h 975"/>
                <a:gd name="T36" fmla="*/ 3158 w 5777"/>
                <a:gd name="T37" fmla="*/ 15 h 975"/>
                <a:gd name="T38" fmla="*/ 3158 w 5777"/>
                <a:gd name="T39" fmla="*/ 650 h 975"/>
                <a:gd name="T40" fmla="*/ 3410 w 5777"/>
                <a:gd name="T41" fmla="*/ 761 h 975"/>
                <a:gd name="T42" fmla="*/ 3212 w 5777"/>
                <a:gd name="T43" fmla="*/ 960 h 975"/>
                <a:gd name="T44" fmla="*/ 2958 w 5777"/>
                <a:gd name="T45" fmla="*/ 15 h 975"/>
                <a:gd name="T46" fmla="*/ 3158 w 5777"/>
                <a:gd name="T47" fmla="*/ 15 h 975"/>
                <a:gd name="T48" fmla="*/ 2718 w 5777"/>
                <a:gd name="T49" fmla="*/ 204 h 975"/>
                <a:gd name="T50" fmla="*/ 2356 w 5777"/>
                <a:gd name="T51" fmla="*/ 400 h 975"/>
                <a:gd name="T52" fmla="*/ 2718 w 5777"/>
                <a:gd name="T53" fmla="*/ 575 h 975"/>
                <a:gd name="T54" fmla="*/ 2597 w 5777"/>
                <a:gd name="T55" fmla="*/ 771 h 975"/>
                <a:gd name="T56" fmla="*/ 2718 w 5777"/>
                <a:gd name="T57" fmla="*/ 960 h 975"/>
                <a:gd name="T58" fmla="*/ 2151 w 5777"/>
                <a:gd name="T59" fmla="*/ 488 h 975"/>
                <a:gd name="T60" fmla="*/ 2718 w 5777"/>
                <a:gd name="T61" fmla="*/ 15 h 975"/>
                <a:gd name="T62" fmla="*/ 2718 w 5777"/>
                <a:gd name="T63" fmla="*/ 204 h 975"/>
                <a:gd name="T64" fmla="*/ 1699 w 5777"/>
                <a:gd name="T65" fmla="*/ 204 h 975"/>
                <a:gd name="T66" fmla="*/ 1494 w 5777"/>
                <a:gd name="T67" fmla="*/ 15 h 975"/>
                <a:gd name="T68" fmla="*/ 2104 w 5777"/>
                <a:gd name="T69" fmla="*/ 204 h 975"/>
                <a:gd name="T70" fmla="*/ 1899 w 5777"/>
                <a:gd name="T71" fmla="*/ 960 h 975"/>
                <a:gd name="T72" fmla="*/ 1699 w 5777"/>
                <a:gd name="T73" fmla="*/ 204 h 975"/>
                <a:gd name="T74" fmla="*/ 1421 w 5777"/>
                <a:gd name="T75" fmla="*/ 204 h 975"/>
                <a:gd name="T76" fmla="*/ 1275 w 5777"/>
                <a:gd name="T77" fmla="*/ 204 h 975"/>
                <a:gd name="T78" fmla="*/ 1275 w 5777"/>
                <a:gd name="T79" fmla="*/ 771 h 975"/>
                <a:gd name="T80" fmla="*/ 1421 w 5777"/>
                <a:gd name="T81" fmla="*/ 960 h 975"/>
                <a:gd name="T82" fmla="*/ 819 w 5777"/>
                <a:gd name="T83" fmla="*/ 488 h 975"/>
                <a:gd name="T84" fmla="*/ 1421 w 5777"/>
                <a:gd name="T85" fmla="*/ 15 h 975"/>
                <a:gd name="T86" fmla="*/ 1421 w 5777"/>
                <a:gd name="T87" fmla="*/ 204 h 975"/>
                <a:gd name="T88" fmla="*/ 0 w 5777"/>
                <a:gd name="T89" fmla="*/ 960 h 975"/>
                <a:gd name="T90" fmla="*/ 338 w 5777"/>
                <a:gd name="T91" fmla="*/ 0 h 975"/>
                <a:gd name="T92" fmla="*/ 678 w 5777"/>
                <a:gd name="T93" fmla="*/ 960 h 975"/>
                <a:gd name="T94" fmla="*/ 467 w 5777"/>
                <a:gd name="T95" fmla="*/ 619 h 975"/>
                <a:gd name="T96" fmla="*/ 262 w 5777"/>
                <a:gd name="T97" fmla="*/ 435 h 975"/>
                <a:gd name="T98" fmla="*/ 467 w 5777"/>
                <a:gd name="T99" fmla="*/ 310 h 975"/>
                <a:gd name="T100" fmla="*/ 210 w 5777"/>
                <a:gd name="T101" fmla="*/ 310 h 975"/>
                <a:gd name="T102" fmla="*/ 0 w 5777"/>
                <a:gd name="T103" fmla="*/ 960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77" h="975">
                  <a:moveTo>
                    <a:pt x="5032" y="960"/>
                  </a:moveTo>
                  <a:lnTo>
                    <a:pt x="5032" y="960"/>
                  </a:lnTo>
                  <a:lnTo>
                    <a:pt x="5032" y="137"/>
                  </a:lnTo>
                  <a:cubicBezTo>
                    <a:pt x="5032" y="58"/>
                    <a:pt x="5084" y="0"/>
                    <a:pt x="5169" y="0"/>
                  </a:cubicBezTo>
                  <a:cubicBezTo>
                    <a:pt x="5265" y="0"/>
                    <a:pt x="5309" y="72"/>
                    <a:pt x="5342" y="136"/>
                  </a:cubicBezTo>
                  <a:lnTo>
                    <a:pt x="5574" y="621"/>
                  </a:lnTo>
                  <a:lnTo>
                    <a:pt x="5578" y="621"/>
                  </a:lnTo>
                  <a:lnTo>
                    <a:pt x="5578" y="15"/>
                  </a:lnTo>
                  <a:lnTo>
                    <a:pt x="5777" y="15"/>
                  </a:lnTo>
                  <a:lnTo>
                    <a:pt x="5777" y="839"/>
                  </a:lnTo>
                  <a:cubicBezTo>
                    <a:pt x="5777" y="912"/>
                    <a:pt x="5750" y="975"/>
                    <a:pt x="5665" y="975"/>
                  </a:cubicBezTo>
                  <a:cubicBezTo>
                    <a:pt x="5582" y="975"/>
                    <a:pt x="5547" y="924"/>
                    <a:pt x="5502" y="834"/>
                  </a:cubicBezTo>
                  <a:lnTo>
                    <a:pt x="5234" y="282"/>
                  </a:lnTo>
                  <a:lnTo>
                    <a:pt x="5231" y="285"/>
                  </a:lnTo>
                  <a:lnTo>
                    <a:pt x="5231" y="960"/>
                  </a:lnTo>
                  <a:lnTo>
                    <a:pt x="5032" y="960"/>
                  </a:lnTo>
                  <a:lnTo>
                    <a:pt x="5032" y="960"/>
                  </a:lnTo>
                  <a:close/>
                  <a:moveTo>
                    <a:pt x="4403" y="0"/>
                  </a:moveTo>
                  <a:lnTo>
                    <a:pt x="4403" y="0"/>
                  </a:lnTo>
                  <a:cubicBezTo>
                    <a:pt x="4120" y="0"/>
                    <a:pt x="3921" y="223"/>
                    <a:pt x="3921" y="488"/>
                  </a:cubicBezTo>
                  <a:cubicBezTo>
                    <a:pt x="3921" y="752"/>
                    <a:pt x="4120" y="975"/>
                    <a:pt x="4403" y="975"/>
                  </a:cubicBezTo>
                  <a:cubicBezTo>
                    <a:pt x="4685" y="975"/>
                    <a:pt x="4884" y="752"/>
                    <a:pt x="4884" y="488"/>
                  </a:cubicBezTo>
                  <a:cubicBezTo>
                    <a:pt x="4884" y="223"/>
                    <a:pt x="4685" y="0"/>
                    <a:pt x="4403" y="0"/>
                  </a:cubicBezTo>
                  <a:lnTo>
                    <a:pt x="4403" y="0"/>
                  </a:lnTo>
                  <a:close/>
                  <a:moveTo>
                    <a:pt x="4403" y="194"/>
                  </a:moveTo>
                  <a:lnTo>
                    <a:pt x="4403" y="194"/>
                  </a:lnTo>
                  <a:cubicBezTo>
                    <a:pt x="4580" y="194"/>
                    <a:pt x="4685" y="330"/>
                    <a:pt x="4685" y="488"/>
                  </a:cubicBezTo>
                  <a:cubicBezTo>
                    <a:pt x="4685" y="645"/>
                    <a:pt x="4580" y="780"/>
                    <a:pt x="4403" y="780"/>
                  </a:cubicBezTo>
                  <a:cubicBezTo>
                    <a:pt x="4226" y="780"/>
                    <a:pt x="4120" y="645"/>
                    <a:pt x="4120" y="488"/>
                  </a:cubicBezTo>
                  <a:cubicBezTo>
                    <a:pt x="4120" y="330"/>
                    <a:pt x="4226" y="194"/>
                    <a:pt x="4403" y="194"/>
                  </a:cubicBezTo>
                  <a:lnTo>
                    <a:pt x="4403" y="194"/>
                  </a:lnTo>
                  <a:close/>
                  <a:moveTo>
                    <a:pt x="3577" y="15"/>
                  </a:moveTo>
                  <a:lnTo>
                    <a:pt x="3577" y="15"/>
                  </a:lnTo>
                  <a:lnTo>
                    <a:pt x="3776" y="15"/>
                  </a:lnTo>
                  <a:lnTo>
                    <a:pt x="3776" y="960"/>
                  </a:lnTo>
                  <a:lnTo>
                    <a:pt x="3577" y="960"/>
                  </a:lnTo>
                  <a:lnTo>
                    <a:pt x="3577" y="15"/>
                  </a:lnTo>
                  <a:close/>
                  <a:moveTo>
                    <a:pt x="3158" y="15"/>
                  </a:moveTo>
                  <a:lnTo>
                    <a:pt x="3158" y="15"/>
                  </a:lnTo>
                  <a:lnTo>
                    <a:pt x="3158" y="650"/>
                  </a:lnTo>
                  <a:cubicBezTo>
                    <a:pt x="3158" y="736"/>
                    <a:pt x="3193" y="761"/>
                    <a:pt x="3260" y="761"/>
                  </a:cubicBezTo>
                  <a:lnTo>
                    <a:pt x="3410" y="761"/>
                  </a:lnTo>
                  <a:lnTo>
                    <a:pt x="3410" y="960"/>
                  </a:lnTo>
                  <a:lnTo>
                    <a:pt x="3212" y="960"/>
                  </a:lnTo>
                  <a:cubicBezTo>
                    <a:pt x="3061" y="960"/>
                    <a:pt x="2958" y="884"/>
                    <a:pt x="2958" y="677"/>
                  </a:cubicBezTo>
                  <a:lnTo>
                    <a:pt x="2958" y="15"/>
                  </a:lnTo>
                  <a:lnTo>
                    <a:pt x="3158" y="15"/>
                  </a:lnTo>
                  <a:lnTo>
                    <a:pt x="3158" y="15"/>
                  </a:lnTo>
                  <a:close/>
                  <a:moveTo>
                    <a:pt x="2718" y="204"/>
                  </a:moveTo>
                  <a:lnTo>
                    <a:pt x="2718" y="204"/>
                  </a:lnTo>
                  <a:lnTo>
                    <a:pt x="2597" y="204"/>
                  </a:lnTo>
                  <a:cubicBezTo>
                    <a:pt x="2445" y="204"/>
                    <a:pt x="2372" y="309"/>
                    <a:pt x="2356" y="400"/>
                  </a:cubicBezTo>
                  <a:lnTo>
                    <a:pt x="2718" y="400"/>
                  </a:lnTo>
                  <a:lnTo>
                    <a:pt x="2718" y="575"/>
                  </a:lnTo>
                  <a:lnTo>
                    <a:pt x="2356" y="575"/>
                  </a:lnTo>
                  <a:cubicBezTo>
                    <a:pt x="2372" y="666"/>
                    <a:pt x="2445" y="771"/>
                    <a:pt x="2597" y="771"/>
                  </a:cubicBezTo>
                  <a:lnTo>
                    <a:pt x="2718" y="771"/>
                  </a:lnTo>
                  <a:lnTo>
                    <a:pt x="2718" y="960"/>
                  </a:lnTo>
                  <a:lnTo>
                    <a:pt x="2615" y="960"/>
                  </a:lnTo>
                  <a:cubicBezTo>
                    <a:pt x="2291" y="960"/>
                    <a:pt x="2151" y="720"/>
                    <a:pt x="2151" y="488"/>
                  </a:cubicBezTo>
                  <a:cubicBezTo>
                    <a:pt x="2151" y="255"/>
                    <a:pt x="2291" y="15"/>
                    <a:pt x="2615" y="15"/>
                  </a:cubicBezTo>
                  <a:lnTo>
                    <a:pt x="2718" y="15"/>
                  </a:lnTo>
                  <a:lnTo>
                    <a:pt x="2718" y="204"/>
                  </a:lnTo>
                  <a:lnTo>
                    <a:pt x="2718" y="204"/>
                  </a:lnTo>
                  <a:close/>
                  <a:moveTo>
                    <a:pt x="1699" y="204"/>
                  </a:moveTo>
                  <a:lnTo>
                    <a:pt x="1699" y="204"/>
                  </a:lnTo>
                  <a:lnTo>
                    <a:pt x="1494" y="204"/>
                  </a:lnTo>
                  <a:lnTo>
                    <a:pt x="1494" y="15"/>
                  </a:lnTo>
                  <a:lnTo>
                    <a:pt x="2104" y="15"/>
                  </a:lnTo>
                  <a:lnTo>
                    <a:pt x="2104" y="204"/>
                  </a:lnTo>
                  <a:lnTo>
                    <a:pt x="1899" y="204"/>
                  </a:lnTo>
                  <a:lnTo>
                    <a:pt x="1899" y="960"/>
                  </a:lnTo>
                  <a:lnTo>
                    <a:pt x="1699" y="960"/>
                  </a:lnTo>
                  <a:lnTo>
                    <a:pt x="1699" y="204"/>
                  </a:lnTo>
                  <a:lnTo>
                    <a:pt x="1699" y="204"/>
                  </a:lnTo>
                  <a:close/>
                  <a:moveTo>
                    <a:pt x="1421" y="204"/>
                  </a:moveTo>
                  <a:lnTo>
                    <a:pt x="1421" y="204"/>
                  </a:lnTo>
                  <a:lnTo>
                    <a:pt x="1275" y="204"/>
                  </a:lnTo>
                  <a:cubicBezTo>
                    <a:pt x="1137" y="204"/>
                    <a:pt x="1029" y="354"/>
                    <a:pt x="1029" y="488"/>
                  </a:cubicBezTo>
                  <a:cubicBezTo>
                    <a:pt x="1029" y="621"/>
                    <a:pt x="1137" y="771"/>
                    <a:pt x="1275" y="771"/>
                  </a:cubicBezTo>
                  <a:lnTo>
                    <a:pt x="1421" y="771"/>
                  </a:lnTo>
                  <a:lnTo>
                    <a:pt x="1421" y="960"/>
                  </a:lnTo>
                  <a:lnTo>
                    <a:pt x="1264" y="960"/>
                  </a:lnTo>
                  <a:cubicBezTo>
                    <a:pt x="1037" y="960"/>
                    <a:pt x="819" y="774"/>
                    <a:pt x="819" y="488"/>
                  </a:cubicBezTo>
                  <a:cubicBezTo>
                    <a:pt x="819" y="201"/>
                    <a:pt x="1037" y="15"/>
                    <a:pt x="1264" y="15"/>
                  </a:cubicBezTo>
                  <a:lnTo>
                    <a:pt x="1421" y="15"/>
                  </a:lnTo>
                  <a:lnTo>
                    <a:pt x="1421" y="204"/>
                  </a:lnTo>
                  <a:lnTo>
                    <a:pt x="1421" y="204"/>
                  </a:lnTo>
                  <a:close/>
                  <a:moveTo>
                    <a:pt x="0" y="960"/>
                  </a:moveTo>
                  <a:lnTo>
                    <a:pt x="0" y="960"/>
                  </a:lnTo>
                  <a:lnTo>
                    <a:pt x="0" y="344"/>
                  </a:lnTo>
                  <a:cubicBezTo>
                    <a:pt x="0" y="181"/>
                    <a:pt x="93" y="0"/>
                    <a:pt x="338" y="0"/>
                  </a:cubicBezTo>
                  <a:cubicBezTo>
                    <a:pt x="583" y="0"/>
                    <a:pt x="678" y="181"/>
                    <a:pt x="678" y="344"/>
                  </a:cubicBezTo>
                  <a:lnTo>
                    <a:pt x="678" y="960"/>
                  </a:lnTo>
                  <a:lnTo>
                    <a:pt x="467" y="960"/>
                  </a:lnTo>
                  <a:lnTo>
                    <a:pt x="467" y="619"/>
                  </a:lnTo>
                  <a:lnTo>
                    <a:pt x="262" y="619"/>
                  </a:lnTo>
                  <a:lnTo>
                    <a:pt x="262" y="435"/>
                  </a:lnTo>
                  <a:lnTo>
                    <a:pt x="467" y="435"/>
                  </a:lnTo>
                  <a:lnTo>
                    <a:pt x="467" y="310"/>
                  </a:lnTo>
                  <a:cubicBezTo>
                    <a:pt x="467" y="240"/>
                    <a:pt x="435" y="184"/>
                    <a:pt x="338" y="184"/>
                  </a:cubicBezTo>
                  <a:cubicBezTo>
                    <a:pt x="241" y="184"/>
                    <a:pt x="210" y="240"/>
                    <a:pt x="210" y="310"/>
                  </a:cubicBezTo>
                  <a:lnTo>
                    <a:pt x="210" y="960"/>
                  </a:lnTo>
                  <a:lnTo>
                    <a:pt x="0" y="96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5" name="Freeform 10"/>
            <p:cNvSpPr>
              <a:spLocks noEditPoints="1"/>
            </p:cNvSpPr>
            <p:nvPr userDrawn="1"/>
          </p:nvSpPr>
          <p:spPr bwMode="auto">
            <a:xfrm>
              <a:off x="4747" y="2914"/>
              <a:ext cx="733" cy="98"/>
            </a:xfrm>
            <a:custGeom>
              <a:avLst/>
              <a:gdLst>
                <a:gd name="T0" fmla="*/ 277 w 5777"/>
                <a:gd name="T1" fmla="*/ 688 h 773"/>
                <a:gd name="T2" fmla="*/ 97 w 5777"/>
                <a:gd name="T3" fmla="*/ 732 h 773"/>
                <a:gd name="T4" fmla="*/ 97 w 5777"/>
                <a:gd name="T5" fmla="*/ 565 h 773"/>
                <a:gd name="T6" fmla="*/ 5580 w 5777"/>
                <a:gd name="T7" fmla="*/ 6 h 773"/>
                <a:gd name="T8" fmla="*/ 5654 w 5777"/>
                <a:gd name="T9" fmla="*/ 202 h 773"/>
                <a:gd name="T10" fmla="*/ 5515 w 5777"/>
                <a:gd name="T11" fmla="*/ 132 h 773"/>
                <a:gd name="T12" fmla="*/ 5394 w 5777"/>
                <a:gd name="T13" fmla="*/ 202 h 773"/>
                <a:gd name="T14" fmla="*/ 5275 w 5777"/>
                <a:gd name="T15" fmla="*/ 53 h 773"/>
                <a:gd name="T16" fmla="*/ 5229 w 5777"/>
                <a:gd name="T17" fmla="*/ 202 h 773"/>
                <a:gd name="T18" fmla="*/ 5094 w 5777"/>
                <a:gd name="T19" fmla="*/ 102 h 773"/>
                <a:gd name="T20" fmla="*/ 5173 w 5777"/>
                <a:gd name="T21" fmla="*/ 31 h 773"/>
                <a:gd name="T22" fmla="*/ 5016 w 5777"/>
                <a:gd name="T23" fmla="*/ 6 h 773"/>
                <a:gd name="T24" fmla="*/ 4924 w 5777"/>
                <a:gd name="T25" fmla="*/ 70 h 773"/>
                <a:gd name="T26" fmla="*/ 4757 w 5777"/>
                <a:gd name="T27" fmla="*/ 6 h 773"/>
                <a:gd name="T28" fmla="*/ 4660 w 5777"/>
                <a:gd name="T29" fmla="*/ 55 h 773"/>
                <a:gd name="T30" fmla="*/ 4626 w 5777"/>
                <a:gd name="T31" fmla="*/ 208 h 773"/>
                <a:gd name="T32" fmla="*/ 4626 w 5777"/>
                <a:gd name="T33" fmla="*/ 208 h 773"/>
                <a:gd name="T34" fmla="*/ 4515 w 5777"/>
                <a:gd name="T35" fmla="*/ 51 h 773"/>
                <a:gd name="T36" fmla="*/ 4516 w 5777"/>
                <a:gd name="T37" fmla="*/ 158 h 773"/>
                <a:gd name="T38" fmla="*/ 4119 w 5777"/>
                <a:gd name="T39" fmla="*/ 6 h 773"/>
                <a:gd name="T40" fmla="*/ 3999 w 5777"/>
                <a:gd name="T41" fmla="*/ 53 h 773"/>
                <a:gd name="T42" fmla="*/ 3901 w 5777"/>
                <a:gd name="T43" fmla="*/ 202 h 773"/>
                <a:gd name="T44" fmla="*/ 3718 w 5777"/>
                <a:gd name="T45" fmla="*/ 104 h 773"/>
                <a:gd name="T46" fmla="*/ 3815 w 5777"/>
                <a:gd name="T47" fmla="*/ 167 h 773"/>
                <a:gd name="T48" fmla="*/ 3637 w 5777"/>
                <a:gd name="T49" fmla="*/ 202 h 773"/>
                <a:gd name="T50" fmla="*/ 3515 w 5777"/>
                <a:gd name="T51" fmla="*/ 202 h 773"/>
                <a:gd name="T52" fmla="*/ 3432 w 5777"/>
                <a:gd name="T53" fmla="*/ 171 h 773"/>
                <a:gd name="T54" fmla="*/ 3360 w 5777"/>
                <a:gd name="T55" fmla="*/ 166 h 773"/>
                <a:gd name="T56" fmla="*/ 3240 w 5777"/>
                <a:gd name="T57" fmla="*/ 44 h 773"/>
                <a:gd name="T58" fmla="*/ 3249 w 5777"/>
                <a:gd name="T59" fmla="*/ 202 h 773"/>
                <a:gd name="T60" fmla="*/ 2892 w 5777"/>
                <a:gd name="T61" fmla="*/ 104 h 773"/>
                <a:gd name="T62" fmla="*/ 2990 w 5777"/>
                <a:gd name="T63" fmla="*/ 167 h 773"/>
                <a:gd name="T64" fmla="*/ 2815 w 5777"/>
                <a:gd name="T65" fmla="*/ 136 h 773"/>
                <a:gd name="T66" fmla="*/ 2754 w 5777"/>
                <a:gd name="T67" fmla="*/ 171 h 773"/>
                <a:gd name="T68" fmla="*/ 2671 w 5777"/>
                <a:gd name="T69" fmla="*/ 202 h 773"/>
                <a:gd name="T70" fmla="*/ 2506 w 5777"/>
                <a:gd name="T71" fmla="*/ 76 h 773"/>
                <a:gd name="T72" fmla="*/ 2563 w 5777"/>
                <a:gd name="T73" fmla="*/ 148 h 773"/>
                <a:gd name="T74" fmla="*/ 2343 w 5777"/>
                <a:gd name="T75" fmla="*/ 96 h 773"/>
                <a:gd name="T76" fmla="*/ 2406 w 5777"/>
                <a:gd name="T77" fmla="*/ 26 h 773"/>
                <a:gd name="T78" fmla="*/ 2253 w 5777"/>
                <a:gd name="T79" fmla="*/ 202 h 773"/>
                <a:gd name="T80" fmla="*/ 2134 w 5777"/>
                <a:gd name="T81" fmla="*/ 53 h 773"/>
                <a:gd name="T82" fmla="*/ 2088 w 5777"/>
                <a:gd name="T83" fmla="*/ 202 h 773"/>
                <a:gd name="T84" fmla="*/ 1966 w 5777"/>
                <a:gd name="T85" fmla="*/ 202 h 773"/>
                <a:gd name="T86" fmla="*/ 1966 w 5777"/>
                <a:gd name="T87" fmla="*/ 77 h 773"/>
                <a:gd name="T88" fmla="*/ 1771 w 5777"/>
                <a:gd name="T89" fmla="*/ 71 h 773"/>
                <a:gd name="T90" fmla="*/ 1820 w 5777"/>
                <a:gd name="T91" fmla="*/ 71 h 773"/>
                <a:gd name="T92" fmla="*/ 1373 w 5777"/>
                <a:gd name="T93" fmla="*/ 6 h 773"/>
                <a:gd name="T94" fmla="*/ 1490 w 5777"/>
                <a:gd name="T95" fmla="*/ 202 h 773"/>
                <a:gd name="T96" fmla="*/ 1189 w 5777"/>
                <a:gd name="T97" fmla="*/ 6 h 773"/>
                <a:gd name="T98" fmla="*/ 1238 w 5777"/>
                <a:gd name="T99" fmla="*/ 164 h 773"/>
                <a:gd name="T100" fmla="*/ 1036 w 5777"/>
                <a:gd name="T101" fmla="*/ 159 h 773"/>
                <a:gd name="T102" fmla="*/ 1120 w 5777"/>
                <a:gd name="T103" fmla="*/ 64 h 773"/>
                <a:gd name="T104" fmla="*/ 1069 w 5777"/>
                <a:gd name="T105" fmla="*/ 207 h 773"/>
                <a:gd name="T106" fmla="*/ 916 w 5777"/>
                <a:gd name="T107" fmla="*/ 145 h 773"/>
                <a:gd name="T108" fmla="*/ 875 w 5777"/>
                <a:gd name="T109" fmla="*/ 40 h 773"/>
                <a:gd name="T110" fmla="*/ 823 w 5777"/>
                <a:gd name="T111" fmla="*/ 143 h 773"/>
                <a:gd name="T112" fmla="*/ 762 w 5777"/>
                <a:gd name="T113" fmla="*/ 6 h 773"/>
                <a:gd name="T114" fmla="*/ 596 w 5777"/>
                <a:gd name="T115" fmla="*/ 6 h 773"/>
                <a:gd name="T116" fmla="*/ 503 w 5777"/>
                <a:gd name="T117" fmla="*/ 6 h 773"/>
                <a:gd name="T118" fmla="*/ 452 w 5777"/>
                <a:gd name="T119" fmla="*/ 6 h 773"/>
                <a:gd name="T120" fmla="*/ 310 w 5777"/>
                <a:gd name="T121" fmla="*/ 202 h 773"/>
                <a:gd name="T122" fmla="*/ 97 w 5777"/>
                <a:gd name="T123" fmla="*/ 53 h 773"/>
                <a:gd name="T124" fmla="*/ 196 w 5777"/>
                <a:gd name="T125" fmla="*/ 202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77" h="773">
                  <a:moveTo>
                    <a:pt x="379" y="571"/>
                  </a:moveTo>
                  <a:lnTo>
                    <a:pt x="379" y="571"/>
                  </a:lnTo>
                  <a:lnTo>
                    <a:pt x="379" y="609"/>
                  </a:lnTo>
                  <a:lnTo>
                    <a:pt x="277" y="609"/>
                  </a:lnTo>
                  <a:lnTo>
                    <a:pt x="277" y="650"/>
                  </a:lnTo>
                  <a:lnTo>
                    <a:pt x="371" y="650"/>
                  </a:lnTo>
                  <a:lnTo>
                    <a:pt x="371" y="688"/>
                  </a:lnTo>
                  <a:lnTo>
                    <a:pt x="277" y="688"/>
                  </a:lnTo>
                  <a:lnTo>
                    <a:pt x="277" y="767"/>
                  </a:lnTo>
                  <a:lnTo>
                    <a:pt x="228" y="767"/>
                  </a:lnTo>
                  <a:lnTo>
                    <a:pt x="228" y="571"/>
                  </a:lnTo>
                  <a:lnTo>
                    <a:pt x="379" y="571"/>
                  </a:lnTo>
                  <a:lnTo>
                    <a:pt x="379" y="571"/>
                  </a:lnTo>
                  <a:close/>
                  <a:moveTo>
                    <a:pt x="147" y="674"/>
                  </a:moveTo>
                  <a:lnTo>
                    <a:pt x="147" y="674"/>
                  </a:lnTo>
                  <a:cubicBezTo>
                    <a:pt x="146" y="715"/>
                    <a:pt x="121" y="732"/>
                    <a:pt x="97" y="732"/>
                  </a:cubicBezTo>
                  <a:cubicBezTo>
                    <a:pt x="74" y="732"/>
                    <a:pt x="48" y="714"/>
                    <a:pt x="48" y="667"/>
                  </a:cubicBezTo>
                  <a:cubicBezTo>
                    <a:pt x="48" y="632"/>
                    <a:pt x="67" y="606"/>
                    <a:pt x="97" y="606"/>
                  </a:cubicBezTo>
                  <a:cubicBezTo>
                    <a:pt x="110" y="606"/>
                    <a:pt x="123" y="611"/>
                    <a:pt x="131" y="620"/>
                  </a:cubicBezTo>
                  <a:cubicBezTo>
                    <a:pt x="143" y="632"/>
                    <a:pt x="148" y="653"/>
                    <a:pt x="147" y="674"/>
                  </a:cubicBezTo>
                  <a:lnTo>
                    <a:pt x="147" y="674"/>
                  </a:lnTo>
                  <a:close/>
                  <a:moveTo>
                    <a:pt x="133" y="571"/>
                  </a:moveTo>
                  <a:lnTo>
                    <a:pt x="133" y="571"/>
                  </a:lnTo>
                  <a:cubicBezTo>
                    <a:pt x="121" y="566"/>
                    <a:pt x="108" y="565"/>
                    <a:pt x="97" y="565"/>
                  </a:cubicBezTo>
                  <a:cubicBezTo>
                    <a:pt x="33" y="565"/>
                    <a:pt x="0" y="615"/>
                    <a:pt x="0" y="668"/>
                  </a:cubicBezTo>
                  <a:cubicBezTo>
                    <a:pt x="0" y="725"/>
                    <a:pt x="35" y="773"/>
                    <a:pt x="97" y="773"/>
                  </a:cubicBezTo>
                  <a:cubicBezTo>
                    <a:pt x="118" y="773"/>
                    <a:pt x="140" y="768"/>
                    <a:pt x="159" y="752"/>
                  </a:cubicBezTo>
                  <a:cubicBezTo>
                    <a:pt x="181" y="735"/>
                    <a:pt x="197" y="704"/>
                    <a:pt x="197" y="670"/>
                  </a:cubicBezTo>
                  <a:cubicBezTo>
                    <a:pt x="197" y="657"/>
                    <a:pt x="193" y="591"/>
                    <a:pt x="133" y="571"/>
                  </a:cubicBezTo>
                  <a:lnTo>
                    <a:pt x="133" y="571"/>
                  </a:lnTo>
                  <a:close/>
                  <a:moveTo>
                    <a:pt x="5580" y="6"/>
                  </a:moveTo>
                  <a:lnTo>
                    <a:pt x="5580" y="6"/>
                  </a:lnTo>
                  <a:lnTo>
                    <a:pt x="5637" y="6"/>
                  </a:lnTo>
                  <a:lnTo>
                    <a:pt x="5679" y="73"/>
                  </a:lnTo>
                  <a:cubicBezTo>
                    <a:pt x="5682" y="68"/>
                    <a:pt x="5682" y="67"/>
                    <a:pt x="5687" y="58"/>
                  </a:cubicBezTo>
                  <a:lnTo>
                    <a:pt x="5721" y="6"/>
                  </a:lnTo>
                  <a:lnTo>
                    <a:pt x="5777" y="6"/>
                  </a:lnTo>
                  <a:lnTo>
                    <a:pt x="5703" y="109"/>
                  </a:lnTo>
                  <a:lnTo>
                    <a:pt x="5703" y="202"/>
                  </a:lnTo>
                  <a:lnTo>
                    <a:pt x="5654" y="202"/>
                  </a:lnTo>
                  <a:lnTo>
                    <a:pt x="5654" y="111"/>
                  </a:lnTo>
                  <a:lnTo>
                    <a:pt x="5580" y="6"/>
                  </a:lnTo>
                  <a:lnTo>
                    <a:pt x="5580" y="6"/>
                  </a:lnTo>
                  <a:close/>
                  <a:moveTo>
                    <a:pt x="5394" y="6"/>
                  </a:moveTo>
                  <a:lnTo>
                    <a:pt x="5394" y="6"/>
                  </a:lnTo>
                  <a:lnTo>
                    <a:pt x="5443" y="6"/>
                  </a:lnTo>
                  <a:lnTo>
                    <a:pt x="5485" y="78"/>
                  </a:lnTo>
                  <a:cubicBezTo>
                    <a:pt x="5501" y="106"/>
                    <a:pt x="5506" y="115"/>
                    <a:pt x="5515" y="132"/>
                  </a:cubicBezTo>
                  <a:lnTo>
                    <a:pt x="5513" y="6"/>
                  </a:lnTo>
                  <a:lnTo>
                    <a:pt x="5560" y="6"/>
                  </a:lnTo>
                  <a:lnTo>
                    <a:pt x="5560" y="202"/>
                  </a:lnTo>
                  <a:lnTo>
                    <a:pt x="5511" y="202"/>
                  </a:lnTo>
                  <a:lnTo>
                    <a:pt x="5475" y="140"/>
                  </a:lnTo>
                  <a:cubicBezTo>
                    <a:pt x="5457" y="111"/>
                    <a:pt x="5453" y="105"/>
                    <a:pt x="5440" y="79"/>
                  </a:cubicBezTo>
                  <a:lnTo>
                    <a:pt x="5441" y="202"/>
                  </a:lnTo>
                  <a:lnTo>
                    <a:pt x="5394" y="202"/>
                  </a:lnTo>
                  <a:lnTo>
                    <a:pt x="5394" y="6"/>
                  </a:lnTo>
                  <a:lnTo>
                    <a:pt x="5394" y="6"/>
                  </a:lnTo>
                  <a:close/>
                  <a:moveTo>
                    <a:pt x="5275" y="53"/>
                  </a:moveTo>
                  <a:lnTo>
                    <a:pt x="5275" y="53"/>
                  </a:lnTo>
                  <a:cubicBezTo>
                    <a:pt x="5272" y="63"/>
                    <a:pt x="5270" y="73"/>
                    <a:pt x="5267" y="83"/>
                  </a:cubicBezTo>
                  <a:cubicBezTo>
                    <a:pt x="5263" y="98"/>
                    <a:pt x="5255" y="121"/>
                    <a:pt x="5251" y="136"/>
                  </a:cubicBezTo>
                  <a:lnTo>
                    <a:pt x="5301" y="136"/>
                  </a:lnTo>
                  <a:lnTo>
                    <a:pt x="5275" y="53"/>
                  </a:lnTo>
                  <a:lnTo>
                    <a:pt x="5275" y="53"/>
                  </a:lnTo>
                  <a:close/>
                  <a:moveTo>
                    <a:pt x="5301" y="6"/>
                  </a:moveTo>
                  <a:lnTo>
                    <a:pt x="5301" y="6"/>
                  </a:lnTo>
                  <a:lnTo>
                    <a:pt x="5374" y="202"/>
                  </a:lnTo>
                  <a:lnTo>
                    <a:pt x="5321" y="202"/>
                  </a:lnTo>
                  <a:lnTo>
                    <a:pt x="5312" y="171"/>
                  </a:lnTo>
                  <a:lnTo>
                    <a:pt x="5239" y="171"/>
                  </a:lnTo>
                  <a:lnTo>
                    <a:pt x="5229" y="202"/>
                  </a:lnTo>
                  <a:lnTo>
                    <a:pt x="5177" y="202"/>
                  </a:lnTo>
                  <a:lnTo>
                    <a:pt x="5250" y="6"/>
                  </a:lnTo>
                  <a:lnTo>
                    <a:pt x="5301" y="6"/>
                  </a:lnTo>
                  <a:lnTo>
                    <a:pt x="5301" y="6"/>
                  </a:lnTo>
                  <a:close/>
                  <a:moveTo>
                    <a:pt x="5065" y="42"/>
                  </a:moveTo>
                  <a:lnTo>
                    <a:pt x="5065" y="42"/>
                  </a:lnTo>
                  <a:lnTo>
                    <a:pt x="5065" y="102"/>
                  </a:lnTo>
                  <a:lnTo>
                    <a:pt x="5094" y="102"/>
                  </a:lnTo>
                  <a:cubicBezTo>
                    <a:pt x="5113" y="102"/>
                    <a:pt x="5135" y="101"/>
                    <a:pt x="5135" y="71"/>
                  </a:cubicBezTo>
                  <a:cubicBezTo>
                    <a:pt x="5135" y="42"/>
                    <a:pt x="5110" y="42"/>
                    <a:pt x="5096" y="42"/>
                  </a:cubicBezTo>
                  <a:lnTo>
                    <a:pt x="5065" y="42"/>
                  </a:lnTo>
                  <a:lnTo>
                    <a:pt x="5065" y="42"/>
                  </a:lnTo>
                  <a:close/>
                  <a:moveTo>
                    <a:pt x="5016" y="6"/>
                  </a:moveTo>
                  <a:lnTo>
                    <a:pt x="5016" y="6"/>
                  </a:lnTo>
                  <a:lnTo>
                    <a:pt x="5095" y="6"/>
                  </a:lnTo>
                  <a:cubicBezTo>
                    <a:pt x="5127" y="6"/>
                    <a:pt x="5156" y="6"/>
                    <a:pt x="5173" y="31"/>
                  </a:cubicBezTo>
                  <a:cubicBezTo>
                    <a:pt x="5180" y="42"/>
                    <a:pt x="5184" y="58"/>
                    <a:pt x="5184" y="71"/>
                  </a:cubicBezTo>
                  <a:cubicBezTo>
                    <a:pt x="5184" y="82"/>
                    <a:pt x="5182" y="92"/>
                    <a:pt x="5177" y="102"/>
                  </a:cubicBezTo>
                  <a:cubicBezTo>
                    <a:pt x="5160" y="137"/>
                    <a:pt x="5124" y="138"/>
                    <a:pt x="5097" y="138"/>
                  </a:cubicBezTo>
                  <a:lnTo>
                    <a:pt x="5065" y="138"/>
                  </a:lnTo>
                  <a:lnTo>
                    <a:pt x="5065" y="202"/>
                  </a:lnTo>
                  <a:lnTo>
                    <a:pt x="5016" y="202"/>
                  </a:lnTo>
                  <a:lnTo>
                    <a:pt x="5016" y="6"/>
                  </a:lnTo>
                  <a:lnTo>
                    <a:pt x="5016" y="6"/>
                  </a:lnTo>
                  <a:close/>
                  <a:moveTo>
                    <a:pt x="4974" y="6"/>
                  </a:moveTo>
                  <a:lnTo>
                    <a:pt x="4974" y="6"/>
                  </a:lnTo>
                  <a:lnTo>
                    <a:pt x="4974" y="202"/>
                  </a:lnTo>
                  <a:lnTo>
                    <a:pt x="4927" y="202"/>
                  </a:lnTo>
                  <a:lnTo>
                    <a:pt x="4930" y="62"/>
                  </a:lnTo>
                  <a:lnTo>
                    <a:pt x="4931" y="43"/>
                  </a:lnTo>
                  <a:lnTo>
                    <a:pt x="4929" y="50"/>
                  </a:lnTo>
                  <a:cubicBezTo>
                    <a:pt x="4927" y="61"/>
                    <a:pt x="4927" y="62"/>
                    <a:pt x="4924" y="70"/>
                  </a:cubicBezTo>
                  <a:lnTo>
                    <a:pt x="4887" y="202"/>
                  </a:lnTo>
                  <a:lnTo>
                    <a:pt x="4845" y="202"/>
                  </a:lnTo>
                  <a:lnTo>
                    <a:pt x="4809" y="76"/>
                  </a:lnTo>
                  <a:lnTo>
                    <a:pt x="4801" y="41"/>
                  </a:lnTo>
                  <a:cubicBezTo>
                    <a:pt x="4801" y="56"/>
                    <a:pt x="4801" y="60"/>
                    <a:pt x="4802" y="78"/>
                  </a:cubicBezTo>
                  <a:lnTo>
                    <a:pt x="4805" y="202"/>
                  </a:lnTo>
                  <a:lnTo>
                    <a:pt x="4757" y="202"/>
                  </a:lnTo>
                  <a:lnTo>
                    <a:pt x="4757" y="6"/>
                  </a:lnTo>
                  <a:lnTo>
                    <a:pt x="4829" y="6"/>
                  </a:lnTo>
                  <a:lnTo>
                    <a:pt x="4859" y="116"/>
                  </a:lnTo>
                  <a:lnTo>
                    <a:pt x="4866" y="148"/>
                  </a:lnTo>
                  <a:cubicBezTo>
                    <a:pt x="4869" y="134"/>
                    <a:pt x="4869" y="133"/>
                    <a:pt x="4871" y="123"/>
                  </a:cubicBezTo>
                  <a:lnTo>
                    <a:pt x="4903" y="6"/>
                  </a:lnTo>
                  <a:lnTo>
                    <a:pt x="4974" y="6"/>
                  </a:lnTo>
                  <a:lnTo>
                    <a:pt x="4974" y="6"/>
                  </a:lnTo>
                  <a:close/>
                  <a:moveTo>
                    <a:pt x="4660" y="55"/>
                  </a:moveTo>
                  <a:lnTo>
                    <a:pt x="4660" y="55"/>
                  </a:lnTo>
                  <a:cubicBezTo>
                    <a:pt x="4652" y="46"/>
                    <a:pt x="4639" y="41"/>
                    <a:pt x="4626" y="41"/>
                  </a:cubicBezTo>
                  <a:cubicBezTo>
                    <a:pt x="4596" y="41"/>
                    <a:pt x="4577" y="67"/>
                    <a:pt x="4577" y="102"/>
                  </a:cubicBezTo>
                  <a:cubicBezTo>
                    <a:pt x="4577" y="149"/>
                    <a:pt x="4603" y="167"/>
                    <a:pt x="4626" y="167"/>
                  </a:cubicBezTo>
                  <a:cubicBezTo>
                    <a:pt x="4650" y="167"/>
                    <a:pt x="4675" y="150"/>
                    <a:pt x="4676" y="109"/>
                  </a:cubicBezTo>
                  <a:cubicBezTo>
                    <a:pt x="4677" y="88"/>
                    <a:pt x="4671" y="67"/>
                    <a:pt x="4660" y="55"/>
                  </a:cubicBezTo>
                  <a:lnTo>
                    <a:pt x="4660" y="55"/>
                  </a:lnTo>
                  <a:close/>
                  <a:moveTo>
                    <a:pt x="4626" y="208"/>
                  </a:moveTo>
                  <a:lnTo>
                    <a:pt x="4626" y="208"/>
                  </a:lnTo>
                  <a:cubicBezTo>
                    <a:pt x="4564" y="208"/>
                    <a:pt x="4528" y="160"/>
                    <a:pt x="4528" y="103"/>
                  </a:cubicBezTo>
                  <a:cubicBezTo>
                    <a:pt x="4528" y="50"/>
                    <a:pt x="4562" y="0"/>
                    <a:pt x="4625" y="0"/>
                  </a:cubicBezTo>
                  <a:cubicBezTo>
                    <a:pt x="4637" y="0"/>
                    <a:pt x="4649" y="1"/>
                    <a:pt x="4661" y="6"/>
                  </a:cubicBezTo>
                  <a:cubicBezTo>
                    <a:pt x="4721" y="26"/>
                    <a:pt x="4725" y="92"/>
                    <a:pt x="4725" y="105"/>
                  </a:cubicBezTo>
                  <a:cubicBezTo>
                    <a:pt x="4725" y="139"/>
                    <a:pt x="4710" y="170"/>
                    <a:pt x="4688" y="187"/>
                  </a:cubicBezTo>
                  <a:cubicBezTo>
                    <a:pt x="4669" y="203"/>
                    <a:pt x="4647" y="208"/>
                    <a:pt x="4626" y="208"/>
                  </a:cubicBezTo>
                  <a:lnTo>
                    <a:pt x="4626" y="208"/>
                  </a:lnTo>
                  <a:close/>
                  <a:moveTo>
                    <a:pt x="4516" y="158"/>
                  </a:moveTo>
                  <a:lnTo>
                    <a:pt x="4516" y="158"/>
                  </a:lnTo>
                  <a:cubicBezTo>
                    <a:pt x="4509" y="169"/>
                    <a:pt x="4502" y="180"/>
                    <a:pt x="4486" y="191"/>
                  </a:cubicBezTo>
                  <a:cubicBezTo>
                    <a:pt x="4478" y="197"/>
                    <a:pt x="4458" y="208"/>
                    <a:pt x="4431" y="208"/>
                  </a:cubicBezTo>
                  <a:cubicBezTo>
                    <a:pt x="4379" y="208"/>
                    <a:pt x="4337" y="170"/>
                    <a:pt x="4337" y="104"/>
                  </a:cubicBezTo>
                  <a:cubicBezTo>
                    <a:pt x="4337" y="46"/>
                    <a:pt x="4377" y="0"/>
                    <a:pt x="4432" y="0"/>
                  </a:cubicBezTo>
                  <a:cubicBezTo>
                    <a:pt x="4455" y="0"/>
                    <a:pt x="4475" y="7"/>
                    <a:pt x="4490" y="19"/>
                  </a:cubicBezTo>
                  <a:cubicBezTo>
                    <a:pt x="4503" y="30"/>
                    <a:pt x="4510" y="41"/>
                    <a:pt x="4515" y="51"/>
                  </a:cubicBezTo>
                  <a:lnTo>
                    <a:pt x="4476" y="70"/>
                  </a:lnTo>
                  <a:cubicBezTo>
                    <a:pt x="4473" y="64"/>
                    <a:pt x="4470" y="57"/>
                    <a:pt x="4461" y="50"/>
                  </a:cubicBezTo>
                  <a:cubicBezTo>
                    <a:pt x="4452" y="42"/>
                    <a:pt x="4443" y="40"/>
                    <a:pt x="4434" y="40"/>
                  </a:cubicBezTo>
                  <a:cubicBezTo>
                    <a:pt x="4403" y="40"/>
                    <a:pt x="4386" y="70"/>
                    <a:pt x="4386" y="102"/>
                  </a:cubicBezTo>
                  <a:cubicBezTo>
                    <a:pt x="4386" y="146"/>
                    <a:pt x="4408" y="167"/>
                    <a:pt x="4434" y="167"/>
                  </a:cubicBezTo>
                  <a:cubicBezTo>
                    <a:pt x="4460" y="167"/>
                    <a:pt x="4470" y="149"/>
                    <a:pt x="4477" y="138"/>
                  </a:cubicBezTo>
                  <a:lnTo>
                    <a:pt x="4516" y="158"/>
                  </a:lnTo>
                  <a:lnTo>
                    <a:pt x="4516" y="158"/>
                  </a:lnTo>
                  <a:close/>
                  <a:moveTo>
                    <a:pt x="4119" y="6"/>
                  </a:moveTo>
                  <a:lnTo>
                    <a:pt x="4119" y="6"/>
                  </a:lnTo>
                  <a:lnTo>
                    <a:pt x="4168" y="6"/>
                  </a:lnTo>
                  <a:lnTo>
                    <a:pt x="4168" y="161"/>
                  </a:lnTo>
                  <a:lnTo>
                    <a:pt x="4245" y="161"/>
                  </a:lnTo>
                  <a:lnTo>
                    <a:pt x="4245" y="202"/>
                  </a:lnTo>
                  <a:lnTo>
                    <a:pt x="4119" y="202"/>
                  </a:lnTo>
                  <a:lnTo>
                    <a:pt x="4119" y="6"/>
                  </a:lnTo>
                  <a:lnTo>
                    <a:pt x="4119" y="6"/>
                  </a:lnTo>
                  <a:close/>
                  <a:moveTo>
                    <a:pt x="3999" y="53"/>
                  </a:moveTo>
                  <a:lnTo>
                    <a:pt x="3999" y="53"/>
                  </a:lnTo>
                  <a:cubicBezTo>
                    <a:pt x="3996" y="63"/>
                    <a:pt x="3994" y="73"/>
                    <a:pt x="3991" y="83"/>
                  </a:cubicBezTo>
                  <a:cubicBezTo>
                    <a:pt x="3987" y="98"/>
                    <a:pt x="3979" y="121"/>
                    <a:pt x="3975" y="136"/>
                  </a:cubicBezTo>
                  <a:lnTo>
                    <a:pt x="4025" y="136"/>
                  </a:lnTo>
                  <a:lnTo>
                    <a:pt x="3999" y="53"/>
                  </a:lnTo>
                  <a:lnTo>
                    <a:pt x="3999" y="53"/>
                  </a:lnTo>
                  <a:close/>
                  <a:moveTo>
                    <a:pt x="4025" y="6"/>
                  </a:moveTo>
                  <a:lnTo>
                    <a:pt x="4025" y="6"/>
                  </a:lnTo>
                  <a:lnTo>
                    <a:pt x="4098" y="202"/>
                  </a:lnTo>
                  <a:lnTo>
                    <a:pt x="4045" y="202"/>
                  </a:lnTo>
                  <a:lnTo>
                    <a:pt x="4036" y="171"/>
                  </a:lnTo>
                  <a:lnTo>
                    <a:pt x="3963" y="171"/>
                  </a:lnTo>
                  <a:lnTo>
                    <a:pt x="3954" y="202"/>
                  </a:lnTo>
                  <a:lnTo>
                    <a:pt x="3901" y="202"/>
                  </a:lnTo>
                  <a:lnTo>
                    <a:pt x="3974" y="6"/>
                  </a:lnTo>
                  <a:lnTo>
                    <a:pt x="4025" y="6"/>
                  </a:lnTo>
                  <a:lnTo>
                    <a:pt x="4025" y="6"/>
                  </a:lnTo>
                  <a:close/>
                  <a:moveTo>
                    <a:pt x="3897" y="158"/>
                  </a:moveTo>
                  <a:lnTo>
                    <a:pt x="3897" y="158"/>
                  </a:lnTo>
                  <a:cubicBezTo>
                    <a:pt x="3889" y="169"/>
                    <a:pt x="3882" y="180"/>
                    <a:pt x="3867" y="191"/>
                  </a:cubicBezTo>
                  <a:cubicBezTo>
                    <a:pt x="3858" y="197"/>
                    <a:pt x="3839" y="208"/>
                    <a:pt x="3812" y="208"/>
                  </a:cubicBezTo>
                  <a:cubicBezTo>
                    <a:pt x="3760" y="208"/>
                    <a:pt x="3718" y="170"/>
                    <a:pt x="3718" y="104"/>
                  </a:cubicBezTo>
                  <a:cubicBezTo>
                    <a:pt x="3718" y="46"/>
                    <a:pt x="3757" y="0"/>
                    <a:pt x="3813" y="0"/>
                  </a:cubicBezTo>
                  <a:cubicBezTo>
                    <a:pt x="3836" y="0"/>
                    <a:pt x="3856" y="7"/>
                    <a:pt x="3870" y="19"/>
                  </a:cubicBezTo>
                  <a:cubicBezTo>
                    <a:pt x="3884" y="30"/>
                    <a:pt x="3891" y="41"/>
                    <a:pt x="3896" y="51"/>
                  </a:cubicBezTo>
                  <a:lnTo>
                    <a:pt x="3857" y="70"/>
                  </a:lnTo>
                  <a:cubicBezTo>
                    <a:pt x="3854" y="64"/>
                    <a:pt x="3851" y="57"/>
                    <a:pt x="3842" y="50"/>
                  </a:cubicBezTo>
                  <a:cubicBezTo>
                    <a:pt x="3833" y="42"/>
                    <a:pt x="3823" y="40"/>
                    <a:pt x="3815" y="40"/>
                  </a:cubicBezTo>
                  <a:cubicBezTo>
                    <a:pt x="3784" y="40"/>
                    <a:pt x="3767" y="70"/>
                    <a:pt x="3767" y="102"/>
                  </a:cubicBezTo>
                  <a:cubicBezTo>
                    <a:pt x="3767" y="146"/>
                    <a:pt x="3789" y="167"/>
                    <a:pt x="3815" y="167"/>
                  </a:cubicBezTo>
                  <a:cubicBezTo>
                    <a:pt x="3841" y="167"/>
                    <a:pt x="3851" y="149"/>
                    <a:pt x="3858" y="138"/>
                  </a:cubicBezTo>
                  <a:lnTo>
                    <a:pt x="3897" y="158"/>
                  </a:lnTo>
                  <a:lnTo>
                    <a:pt x="3897" y="158"/>
                  </a:lnTo>
                  <a:close/>
                  <a:moveTo>
                    <a:pt x="3637" y="6"/>
                  </a:moveTo>
                  <a:lnTo>
                    <a:pt x="3637" y="6"/>
                  </a:lnTo>
                  <a:lnTo>
                    <a:pt x="3686" y="6"/>
                  </a:lnTo>
                  <a:lnTo>
                    <a:pt x="3686" y="202"/>
                  </a:lnTo>
                  <a:lnTo>
                    <a:pt x="3637" y="202"/>
                  </a:lnTo>
                  <a:lnTo>
                    <a:pt x="3637" y="6"/>
                  </a:lnTo>
                  <a:close/>
                  <a:moveTo>
                    <a:pt x="3464" y="6"/>
                  </a:moveTo>
                  <a:lnTo>
                    <a:pt x="3464" y="6"/>
                  </a:lnTo>
                  <a:lnTo>
                    <a:pt x="3615" y="6"/>
                  </a:lnTo>
                  <a:lnTo>
                    <a:pt x="3615" y="45"/>
                  </a:lnTo>
                  <a:lnTo>
                    <a:pt x="3564" y="45"/>
                  </a:lnTo>
                  <a:lnTo>
                    <a:pt x="3564" y="202"/>
                  </a:lnTo>
                  <a:lnTo>
                    <a:pt x="3515" y="202"/>
                  </a:lnTo>
                  <a:lnTo>
                    <a:pt x="3515" y="45"/>
                  </a:lnTo>
                  <a:lnTo>
                    <a:pt x="3464" y="45"/>
                  </a:lnTo>
                  <a:lnTo>
                    <a:pt x="3464" y="6"/>
                  </a:lnTo>
                  <a:lnTo>
                    <a:pt x="3464" y="6"/>
                  </a:lnTo>
                  <a:close/>
                  <a:moveTo>
                    <a:pt x="3443" y="6"/>
                  </a:moveTo>
                  <a:lnTo>
                    <a:pt x="3443" y="6"/>
                  </a:lnTo>
                  <a:lnTo>
                    <a:pt x="3443" y="116"/>
                  </a:lnTo>
                  <a:cubicBezTo>
                    <a:pt x="3443" y="134"/>
                    <a:pt x="3442" y="153"/>
                    <a:pt x="3432" y="171"/>
                  </a:cubicBezTo>
                  <a:cubicBezTo>
                    <a:pt x="3410" y="205"/>
                    <a:pt x="3367" y="207"/>
                    <a:pt x="3358" y="207"/>
                  </a:cubicBezTo>
                  <a:cubicBezTo>
                    <a:pt x="3344" y="207"/>
                    <a:pt x="3326" y="203"/>
                    <a:pt x="3313" y="196"/>
                  </a:cubicBezTo>
                  <a:cubicBezTo>
                    <a:pt x="3275" y="177"/>
                    <a:pt x="3275" y="142"/>
                    <a:pt x="3275" y="116"/>
                  </a:cubicBezTo>
                  <a:lnTo>
                    <a:pt x="3275" y="6"/>
                  </a:lnTo>
                  <a:lnTo>
                    <a:pt x="3325" y="6"/>
                  </a:lnTo>
                  <a:lnTo>
                    <a:pt x="3325" y="128"/>
                  </a:lnTo>
                  <a:cubicBezTo>
                    <a:pt x="3325" y="138"/>
                    <a:pt x="3325" y="147"/>
                    <a:pt x="3328" y="153"/>
                  </a:cubicBezTo>
                  <a:cubicBezTo>
                    <a:pt x="3334" y="163"/>
                    <a:pt x="3348" y="166"/>
                    <a:pt x="3360" y="166"/>
                  </a:cubicBezTo>
                  <a:cubicBezTo>
                    <a:pt x="3393" y="166"/>
                    <a:pt x="3393" y="143"/>
                    <a:pt x="3394" y="128"/>
                  </a:cubicBezTo>
                  <a:lnTo>
                    <a:pt x="3394" y="6"/>
                  </a:lnTo>
                  <a:lnTo>
                    <a:pt x="3443" y="6"/>
                  </a:lnTo>
                  <a:lnTo>
                    <a:pt x="3443" y="6"/>
                  </a:lnTo>
                  <a:close/>
                  <a:moveTo>
                    <a:pt x="3095" y="6"/>
                  </a:moveTo>
                  <a:lnTo>
                    <a:pt x="3095" y="6"/>
                  </a:lnTo>
                  <a:lnTo>
                    <a:pt x="3240" y="6"/>
                  </a:lnTo>
                  <a:lnTo>
                    <a:pt x="3240" y="44"/>
                  </a:lnTo>
                  <a:lnTo>
                    <a:pt x="3144" y="44"/>
                  </a:lnTo>
                  <a:lnTo>
                    <a:pt x="3144" y="80"/>
                  </a:lnTo>
                  <a:lnTo>
                    <a:pt x="3234" y="80"/>
                  </a:lnTo>
                  <a:lnTo>
                    <a:pt x="3234" y="117"/>
                  </a:lnTo>
                  <a:lnTo>
                    <a:pt x="3144" y="117"/>
                  </a:lnTo>
                  <a:lnTo>
                    <a:pt x="3144" y="164"/>
                  </a:lnTo>
                  <a:lnTo>
                    <a:pt x="3249" y="164"/>
                  </a:lnTo>
                  <a:lnTo>
                    <a:pt x="3249" y="202"/>
                  </a:lnTo>
                  <a:lnTo>
                    <a:pt x="3095" y="202"/>
                  </a:lnTo>
                  <a:lnTo>
                    <a:pt x="3095" y="6"/>
                  </a:lnTo>
                  <a:lnTo>
                    <a:pt x="3095" y="6"/>
                  </a:lnTo>
                  <a:close/>
                  <a:moveTo>
                    <a:pt x="3071" y="158"/>
                  </a:moveTo>
                  <a:lnTo>
                    <a:pt x="3071" y="158"/>
                  </a:lnTo>
                  <a:cubicBezTo>
                    <a:pt x="3064" y="169"/>
                    <a:pt x="3057" y="180"/>
                    <a:pt x="3042" y="191"/>
                  </a:cubicBezTo>
                  <a:cubicBezTo>
                    <a:pt x="3033" y="197"/>
                    <a:pt x="3014" y="208"/>
                    <a:pt x="2987" y="208"/>
                  </a:cubicBezTo>
                  <a:cubicBezTo>
                    <a:pt x="2935" y="208"/>
                    <a:pt x="2892" y="170"/>
                    <a:pt x="2892" y="104"/>
                  </a:cubicBezTo>
                  <a:cubicBezTo>
                    <a:pt x="2892" y="46"/>
                    <a:pt x="2932" y="0"/>
                    <a:pt x="2988" y="0"/>
                  </a:cubicBezTo>
                  <a:cubicBezTo>
                    <a:pt x="3010" y="0"/>
                    <a:pt x="3030" y="7"/>
                    <a:pt x="3045" y="19"/>
                  </a:cubicBezTo>
                  <a:cubicBezTo>
                    <a:pt x="3059" y="30"/>
                    <a:pt x="3065" y="41"/>
                    <a:pt x="3071" y="51"/>
                  </a:cubicBezTo>
                  <a:lnTo>
                    <a:pt x="3032" y="70"/>
                  </a:lnTo>
                  <a:cubicBezTo>
                    <a:pt x="3029" y="64"/>
                    <a:pt x="3026" y="57"/>
                    <a:pt x="3017" y="50"/>
                  </a:cubicBezTo>
                  <a:cubicBezTo>
                    <a:pt x="3008" y="42"/>
                    <a:pt x="2998" y="40"/>
                    <a:pt x="2990" y="40"/>
                  </a:cubicBezTo>
                  <a:cubicBezTo>
                    <a:pt x="2958" y="40"/>
                    <a:pt x="2942" y="70"/>
                    <a:pt x="2942" y="102"/>
                  </a:cubicBezTo>
                  <a:cubicBezTo>
                    <a:pt x="2942" y="146"/>
                    <a:pt x="2964" y="167"/>
                    <a:pt x="2990" y="167"/>
                  </a:cubicBezTo>
                  <a:cubicBezTo>
                    <a:pt x="3016" y="167"/>
                    <a:pt x="3026" y="149"/>
                    <a:pt x="3033" y="138"/>
                  </a:cubicBezTo>
                  <a:lnTo>
                    <a:pt x="3071" y="158"/>
                  </a:lnTo>
                  <a:lnTo>
                    <a:pt x="3071" y="158"/>
                  </a:lnTo>
                  <a:close/>
                  <a:moveTo>
                    <a:pt x="2790" y="53"/>
                  </a:moveTo>
                  <a:lnTo>
                    <a:pt x="2790" y="53"/>
                  </a:lnTo>
                  <a:cubicBezTo>
                    <a:pt x="2787" y="63"/>
                    <a:pt x="2784" y="73"/>
                    <a:pt x="2781" y="83"/>
                  </a:cubicBezTo>
                  <a:cubicBezTo>
                    <a:pt x="2777" y="98"/>
                    <a:pt x="2770" y="121"/>
                    <a:pt x="2765" y="136"/>
                  </a:cubicBezTo>
                  <a:lnTo>
                    <a:pt x="2815" y="136"/>
                  </a:lnTo>
                  <a:lnTo>
                    <a:pt x="2790" y="53"/>
                  </a:lnTo>
                  <a:lnTo>
                    <a:pt x="2790" y="53"/>
                  </a:lnTo>
                  <a:close/>
                  <a:moveTo>
                    <a:pt x="2816" y="6"/>
                  </a:moveTo>
                  <a:lnTo>
                    <a:pt x="2816" y="6"/>
                  </a:lnTo>
                  <a:lnTo>
                    <a:pt x="2888" y="202"/>
                  </a:lnTo>
                  <a:lnTo>
                    <a:pt x="2836" y="202"/>
                  </a:lnTo>
                  <a:lnTo>
                    <a:pt x="2826" y="171"/>
                  </a:lnTo>
                  <a:lnTo>
                    <a:pt x="2754" y="171"/>
                  </a:lnTo>
                  <a:lnTo>
                    <a:pt x="2744" y="202"/>
                  </a:lnTo>
                  <a:lnTo>
                    <a:pt x="2692" y="202"/>
                  </a:lnTo>
                  <a:lnTo>
                    <a:pt x="2765" y="6"/>
                  </a:lnTo>
                  <a:lnTo>
                    <a:pt x="2816" y="6"/>
                  </a:lnTo>
                  <a:lnTo>
                    <a:pt x="2816" y="6"/>
                  </a:lnTo>
                  <a:close/>
                  <a:moveTo>
                    <a:pt x="2671" y="6"/>
                  </a:moveTo>
                  <a:lnTo>
                    <a:pt x="2671" y="6"/>
                  </a:lnTo>
                  <a:lnTo>
                    <a:pt x="2671" y="202"/>
                  </a:lnTo>
                  <a:lnTo>
                    <a:pt x="2624" y="202"/>
                  </a:lnTo>
                  <a:lnTo>
                    <a:pt x="2627" y="62"/>
                  </a:lnTo>
                  <a:lnTo>
                    <a:pt x="2628" y="43"/>
                  </a:lnTo>
                  <a:lnTo>
                    <a:pt x="2626" y="50"/>
                  </a:lnTo>
                  <a:cubicBezTo>
                    <a:pt x="2623" y="61"/>
                    <a:pt x="2623" y="62"/>
                    <a:pt x="2621" y="70"/>
                  </a:cubicBezTo>
                  <a:lnTo>
                    <a:pt x="2584" y="202"/>
                  </a:lnTo>
                  <a:lnTo>
                    <a:pt x="2541" y="202"/>
                  </a:lnTo>
                  <a:lnTo>
                    <a:pt x="2506" y="76"/>
                  </a:lnTo>
                  <a:lnTo>
                    <a:pt x="2497" y="41"/>
                  </a:lnTo>
                  <a:cubicBezTo>
                    <a:pt x="2498" y="56"/>
                    <a:pt x="2498" y="60"/>
                    <a:pt x="2499" y="78"/>
                  </a:cubicBezTo>
                  <a:lnTo>
                    <a:pt x="2501" y="202"/>
                  </a:lnTo>
                  <a:lnTo>
                    <a:pt x="2454" y="202"/>
                  </a:lnTo>
                  <a:lnTo>
                    <a:pt x="2454" y="6"/>
                  </a:lnTo>
                  <a:lnTo>
                    <a:pt x="2526" y="6"/>
                  </a:lnTo>
                  <a:lnTo>
                    <a:pt x="2556" y="116"/>
                  </a:lnTo>
                  <a:lnTo>
                    <a:pt x="2563" y="148"/>
                  </a:lnTo>
                  <a:cubicBezTo>
                    <a:pt x="2565" y="134"/>
                    <a:pt x="2566" y="133"/>
                    <a:pt x="2568" y="123"/>
                  </a:cubicBezTo>
                  <a:lnTo>
                    <a:pt x="2599" y="6"/>
                  </a:lnTo>
                  <a:lnTo>
                    <a:pt x="2671" y="6"/>
                  </a:lnTo>
                  <a:lnTo>
                    <a:pt x="2671" y="6"/>
                  </a:lnTo>
                  <a:close/>
                  <a:moveTo>
                    <a:pt x="2302" y="43"/>
                  </a:moveTo>
                  <a:lnTo>
                    <a:pt x="2302" y="43"/>
                  </a:lnTo>
                  <a:lnTo>
                    <a:pt x="2302" y="96"/>
                  </a:lnTo>
                  <a:lnTo>
                    <a:pt x="2343" y="96"/>
                  </a:lnTo>
                  <a:cubicBezTo>
                    <a:pt x="2350" y="95"/>
                    <a:pt x="2373" y="95"/>
                    <a:pt x="2373" y="69"/>
                  </a:cubicBezTo>
                  <a:cubicBezTo>
                    <a:pt x="2373" y="44"/>
                    <a:pt x="2354" y="43"/>
                    <a:pt x="2344" y="43"/>
                  </a:cubicBezTo>
                  <a:lnTo>
                    <a:pt x="2302" y="43"/>
                  </a:lnTo>
                  <a:lnTo>
                    <a:pt x="2302" y="43"/>
                  </a:lnTo>
                  <a:close/>
                  <a:moveTo>
                    <a:pt x="2253" y="6"/>
                  </a:moveTo>
                  <a:lnTo>
                    <a:pt x="2253" y="6"/>
                  </a:lnTo>
                  <a:lnTo>
                    <a:pt x="2342" y="6"/>
                  </a:lnTo>
                  <a:cubicBezTo>
                    <a:pt x="2362" y="6"/>
                    <a:pt x="2388" y="6"/>
                    <a:pt x="2406" y="26"/>
                  </a:cubicBezTo>
                  <a:cubicBezTo>
                    <a:pt x="2415" y="36"/>
                    <a:pt x="2422" y="52"/>
                    <a:pt x="2422" y="70"/>
                  </a:cubicBezTo>
                  <a:cubicBezTo>
                    <a:pt x="2422" y="109"/>
                    <a:pt x="2395" y="119"/>
                    <a:pt x="2381" y="124"/>
                  </a:cubicBezTo>
                  <a:lnTo>
                    <a:pt x="2427" y="202"/>
                  </a:lnTo>
                  <a:lnTo>
                    <a:pt x="2372" y="202"/>
                  </a:lnTo>
                  <a:lnTo>
                    <a:pt x="2333" y="132"/>
                  </a:lnTo>
                  <a:lnTo>
                    <a:pt x="2302" y="132"/>
                  </a:lnTo>
                  <a:lnTo>
                    <a:pt x="2302" y="202"/>
                  </a:lnTo>
                  <a:lnTo>
                    <a:pt x="2253" y="202"/>
                  </a:lnTo>
                  <a:lnTo>
                    <a:pt x="2253" y="6"/>
                  </a:lnTo>
                  <a:lnTo>
                    <a:pt x="2253" y="6"/>
                  </a:lnTo>
                  <a:close/>
                  <a:moveTo>
                    <a:pt x="2134" y="53"/>
                  </a:moveTo>
                  <a:lnTo>
                    <a:pt x="2134" y="53"/>
                  </a:lnTo>
                  <a:cubicBezTo>
                    <a:pt x="2131" y="63"/>
                    <a:pt x="2128" y="73"/>
                    <a:pt x="2125" y="83"/>
                  </a:cubicBezTo>
                  <a:cubicBezTo>
                    <a:pt x="2121" y="98"/>
                    <a:pt x="2114" y="121"/>
                    <a:pt x="2109" y="136"/>
                  </a:cubicBezTo>
                  <a:lnTo>
                    <a:pt x="2159" y="136"/>
                  </a:lnTo>
                  <a:lnTo>
                    <a:pt x="2134" y="53"/>
                  </a:lnTo>
                  <a:lnTo>
                    <a:pt x="2134" y="53"/>
                  </a:lnTo>
                  <a:close/>
                  <a:moveTo>
                    <a:pt x="2160" y="6"/>
                  </a:moveTo>
                  <a:lnTo>
                    <a:pt x="2160" y="6"/>
                  </a:lnTo>
                  <a:lnTo>
                    <a:pt x="2232" y="202"/>
                  </a:lnTo>
                  <a:lnTo>
                    <a:pt x="2180" y="202"/>
                  </a:lnTo>
                  <a:lnTo>
                    <a:pt x="2170" y="171"/>
                  </a:lnTo>
                  <a:lnTo>
                    <a:pt x="2098" y="171"/>
                  </a:lnTo>
                  <a:lnTo>
                    <a:pt x="2088" y="202"/>
                  </a:lnTo>
                  <a:lnTo>
                    <a:pt x="2036" y="202"/>
                  </a:lnTo>
                  <a:lnTo>
                    <a:pt x="2109" y="6"/>
                  </a:lnTo>
                  <a:lnTo>
                    <a:pt x="2160" y="6"/>
                  </a:lnTo>
                  <a:lnTo>
                    <a:pt x="2160" y="6"/>
                  </a:lnTo>
                  <a:close/>
                  <a:moveTo>
                    <a:pt x="2015" y="6"/>
                  </a:moveTo>
                  <a:lnTo>
                    <a:pt x="2015" y="6"/>
                  </a:lnTo>
                  <a:lnTo>
                    <a:pt x="2015" y="202"/>
                  </a:lnTo>
                  <a:lnTo>
                    <a:pt x="1966" y="202"/>
                  </a:lnTo>
                  <a:lnTo>
                    <a:pt x="1966" y="119"/>
                  </a:lnTo>
                  <a:lnTo>
                    <a:pt x="1894" y="119"/>
                  </a:lnTo>
                  <a:lnTo>
                    <a:pt x="1894" y="202"/>
                  </a:lnTo>
                  <a:lnTo>
                    <a:pt x="1845" y="202"/>
                  </a:lnTo>
                  <a:lnTo>
                    <a:pt x="1845" y="6"/>
                  </a:lnTo>
                  <a:lnTo>
                    <a:pt x="1894" y="6"/>
                  </a:lnTo>
                  <a:lnTo>
                    <a:pt x="1894" y="77"/>
                  </a:lnTo>
                  <a:lnTo>
                    <a:pt x="1966" y="77"/>
                  </a:lnTo>
                  <a:lnTo>
                    <a:pt x="1966" y="6"/>
                  </a:lnTo>
                  <a:lnTo>
                    <a:pt x="2015" y="6"/>
                  </a:lnTo>
                  <a:lnTo>
                    <a:pt x="2015" y="6"/>
                  </a:lnTo>
                  <a:close/>
                  <a:moveTo>
                    <a:pt x="1701" y="42"/>
                  </a:moveTo>
                  <a:lnTo>
                    <a:pt x="1701" y="42"/>
                  </a:lnTo>
                  <a:lnTo>
                    <a:pt x="1701" y="102"/>
                  </a:lnTo>
                  <a:lnTo>
                    <a:pt x="1731" y="102"/>
                  </a:lnTo>
                  <a:cubicBezTo>
                    <a:pt x="1749" y="102"/>
                    <a:pt x="1771" y="101"/>
                    <a:pt x="1771" y="71"/>
                  </a:cubicBezTo>
                  <a:cubicBezTo>
                    <a:pt x="1771" y="42"/>
                    <a:pt x="1747" y="42"/>
                    <a:pt x="1732" y="42"/>
                  </a:cubicBezTo>
                  <a:lnTo>
                    <a:pt x="1701" y="42"/>
                  </a:lnTo>
                  <a:lnTo>
                    <a:pt x="1701" y="42"/>
                  </a:lnTo>
                  <a:close/>
                  <a:moveTo>
                    <a:pt x="1652" y="6"/>
                  </a:moveTo>
                  <a:lnTo>
                    <a:pt x="1652" y="6"/>
                  </a:lnTo>
                  <a:lnTo>
                    <a:pt x="1731" y="6"/>
                  </a:lnTo>
                  <a:cubicBezTo>
                    <a:pt x="1763" y="6"/>
                    <a:pt x="1792" y="6"/>
                    <a:pt x="1809" y="31"/>
                  </a:cubicBezTo>
                  <a:cubicBezTo>
                    <a:pt x="1817" y="42"/>
                    <a:pt x="1820" y="58"/>
                    <a:pt x="1820" y="71"/>
                  </a:cubicBezTo>
                  <a:cubicBezTo>
                    <a:pt x="1820" y="82"/>
                    <a:pt x="1818" y="92"/>
                    <a:pt x="1814" y="102"/>
                  </a:cubicBezTo>
                  <a:cubicBezTo>
                    <a:pt x="1797" y="137"/>
                    <a:pt x="1761" y="138"/>
                    <a:pt x="1734" y="138"/>
                  </a:cubicBezTo>
                  <a:lnTo>
                    <a:pt x="1701" y="138"/>
                  </a:lnTo>
                  <a:lnTo>
                    <a:pt x="1701" y="202"/>
                  </a:lnTo>
                  <a:lnTo>
                    <a:pt x="1652" y="202"/>
                  </a:lnTo>
                  <a:lnTo>
                    <a:pt x="1652" y="6"/>
                  </a:lnTo>
                  <a:lnTo>
                    <a:pt x="1652" y="6"/>
                  </a:lnTo>
                  <a:close/>
                  <a:moveTo>
                    <a:pt x="1373" y="6"/>
                  </a:moveTo>
                  <a:lnTo>
                    <a:pt x="1373" y="6"/>
                  </a:lnTo>
                  <a:lnTo>
                    <a:pt x="1422" y="6"/>
                  </a:lnTo>
                  <a:lnTo>
                    <a:pt x="1464" y="78"/>
                  </a:lnTo>
                  <a:cubicBezTo>
                    <a:pt x="1480" y="106"/>
                    <a:pt x="1485" y="115"/>
                    <a:pt x="1494" y="132"/>
                  </a:cubicBezTo>
                  <a:lnTo>
                    <a:pt x="1492" y="6"/>
                  </a:lnTo>
                  <a:lnTo>
                    <a:pt x="1539" y="6"/>
                  </a:lnTo>
                  <a:lnTo>
                    <a:pt x="1539" y="202"/>
                  </a:lnTo>
                  <a:lnTo>
                    <a:pt x="1490" y="202"/>
                  </a:lnTo>
                  <a:lnTo>
                    <a:pt x="1454" y="140"/>
                  </a:lnTo>
                  <a:cubicBezTo>
                    <a:pt x="1436" y="111"/>
                    <a:pt x="1432" y="105"/>
                    <a:pt x="1419" y="79"/>
                  </a:cubicBezTo>
                  <a:lnTo>
                    <a:pt x="1420" y="202"/>
                  </a:lnTo>
                  <a:lnTo>
                    <a:pt x="1373" y="202"/>
                  </a:lnTo>
                  <a:lnTo>
                    <a:pt x="1373" y="6"/>
                  </a:lnTo>
                  <a:lnTo>
                    <a:pt x="1373" y="6"/>
                  </a:lnTo>
                  <a:close/>
                  <a:moveTo>
                    <a:pt x="1189" y="6"/>
                  </a:moveTo>
                  <a:lnTo>
                    <a:pt x="1189" y="6"/>
                  </a:lnTo>
                  <a:lnTo>
                    <a:pt x="1335" y="6"/>
                  </a:lnTo>
                  <a:lnTo>
                    <a:pt x="1335" y="44"/>
                  </a:lnTo>
                  <a:lnTo>
                    <a:pt x="1238" y="44"/>
                  </a:lnTo>
                  <a:lnTo>
                    <a:pt x="1238" y="80"/>
                  </a:lnTo>
                  <a:lnTo>
                    <a:pt x="1328" y="80"/>
                  </a:lnTo>
                  <a:lnTo>
                    <a:pt x="1328" y="117"/>
                  </a:lnTo>
                  <a:lnTo>
                    <a:pt x="1238" y="117"/>
                  </a:lnTo>
                  <a:lnTo>
                    <a:pt x="1238" y="164"/>
                  </a:lnTo>
                  <a:lnTo>
                    <a:pt x="1343" y="164"/>
                  </a:lnTo>
                  <a:lnTo>
                    <a:pt x="1343" y="202"/>
                  </a:lnTo>
                  <a:lnTo>
                    <a:pt x="1189" y="202"/>
                  </a:lnTo>
                  <a:lnTo>
                    <a:pt x="1189" y="6"/>
                  </a:lnTo>
                  <a:lnTo>
                    <a:pt x="1189" y="6"/>
                  </a:lnTo>
                  <a:close/>
                  <a:moveTo>
                    <a:pt x="1017" y="143"/>
                  </a:moveTo>
                  <a:lnTo>
                    <a:pt x="1017" y="143"/>
                  </a:lnTo>
                  <a:cubicBezTo>
                    <a:pt x="1022" y="149"/>
                    <a:pt x="1026" y="153"/>
                    <a:pt x="1036" y="159"/>
                  </a:cubicBezTo>
                  <a:cubicBezTo>
                    <a:pt x="1049" y="166"/>
                    <a:pt x="1062" y="168"/>
                    <a:pt x="1074" y="168"/>
                  </a:cubicBezTo>
                  <a:cubicBezTo>
                    <a:pt x="1093" y="168"/>
                    <a:pt x="1110" y="159"/>
                    <a:pt x="1110" y="145"/>
                  </a:cubicBezTo>
                  <a:cubicBezTo>
                    <a:pt x="1110" y="130"/>
                    <a:pt x="1090" y="127"/>
                    <a:pt x="1076" y="125"/>
                  </a:cubicBezTo>
                  <a:cubicBezTo>
                    <a:pt x="1065" y="124"/>
                    <a:pt x="1054" y="123"/>
                    <a:pt x="1043" y="120"/>
                  </a:cubicBezTo>
                  <a:cubicBezTo>
                    <a:pt x="1031" y="118"/>
                    <a:pt x="990" y="109"/>
                    <a:pt x="990" y="67"/>
                  </a:cubicBezTo>
                  <a:cubicBezTo>
                    <a:pt x="990" y="16"/>
                    <a:pt x="1035" y="1"/>
                    <a:pt x="1069" y="1"/>
                  </a:cubicBezTo>
                  <a:cubicBezTo>
                    <a:pt x="1115" y="1"/>
                    <a:pt x="1139" y="23"/>
                    <a:pt x="1156" y="38"/>
                  </a:cubicBezTo>
                  <a:lnTo>
                    <a:pt x="1120" y="64"/>
                  </a:lnTo>
                  <a:cubicBezTo>
                    <a:pt x="1114" y="58"/>
                    <a:pt x="1108" y="53"/>
                    <a:pt x="1101" y="48"/>
                  </a:cubicBezTo>
                  <a:cubicBezTo>
                    <a:pt x="1094" y="45"/>
                    <a:pt x="1081" y="40"/>
                    <a:pt x="1069" y="40"/>
                  </a:cubicBezTo>
                  <a:cubicBezTo>
                    <a:pt x="1049" y="40"/>
                    <a:pt x="1039" y="51"/>
                    <a:pt x="1039" y="60"/>
                  </a:cubicBezTo>
                  <a:cubicBezTo>
                    <a:pt x="1039" y="75"/>
                    <a:pt x="1056" y="78"/>
                    <a:pt x="1064" y="79"/>
                  </a:cubicBezTo>
                  <a:cubicBezTo>
                    <a:pt x="1085" y="81"/>
                    <a:pt x="1113" y="87"/>
                    <a:pt x="1125" y="90"/>
                  </a:cubicBezTo>
                  <a:cubicBezTo>
                    <a:pt x="1147" y="99"/>
                    <a:pt x="1159" y="116"/>
                    <a:pt x="1159" y="139"/>
                  </a:cubicBezTo>
                  <a:cubicBezTo>
                    <a:pt x="1159" y="153"/>
                    <a:pt x="1153" y="168"/>
                    <a:pt x="1143" y="180"/>
                  </a:cubicBezTo>
                  <a:cubicBezTo>
                    <a:pt x="1125" y="201"/>
                    <a:pt x="1097" y="207"/>
                    <a:pt x="1069" y="207"/>
                  </a:cubicBezTo>
                  <a:cubicBezTo>
                    <a:pt x="1014" y="207"/>
                    <a:pt x="992" y="181"/>
                    <a:pt x="979" y="167"/>
                  </a:cubicBezTo>
                  <a:lnTo>
                    <a:pt x="1017" y="143"/>
                  </a:lnTo>
                  <a:lnTo>
                    <a:pt x="1017" y="143"/>
                  </a:lnTo>
                  <a:close/>
                  <a:moveTo>
                    <a:pt x="823" y="143"/>
                  </a:moveTo>
                  <a:lnTo>
                    <a:pt x="823" y="143"/>
                  </a:lnTo>
                  <a:cubicBezTo>
                    <a:pt x="828" y="149"/>
                    <a:pt x="832" y="153"/>
                    <a:pt x="842" y="159"/>
                  </a:cubicBezTo>
                  <a:cubicBezTo>
                    <a:pt x="855" y="166"/>
                    <a:pt x="868" y="168"/>
                    <a:pt x="880" y="168"/>
                  </a:cubicBezTo>
                  <a:cubicBezTo>
                    <a:pt x="899" y="168"/>
                    <a:pt x="916" y="159"/>
                    <a:pt x="916" y="145"/>
                  </a:cubicBezTo>
                  <a:cubicBezTo>
                    <a:pt x="916" y="130"/>
                    <a:pt x="896" y="127"/>
                    <a:pt x="882" y="125"/>
                  </a:cubicBezTo>
                  <a:cubicBezTo>
                    <a:pt x="871" y="124"/>
                    <a:pt x="860" y="123"/>
                    <a:pt x="849" y="120"/>
                  </a:cubicBezTo>
                  <a:cubicBezTo>
                    <a:pt x="837" y="118"/>
                    <a:pt x="796" y="109"/>
                    <a:pt x="796" y="67"/>
                  </a:cubicBezTo>
                  <a:cubicBezTo>
                    <a:pt x="796" y="16"/>
                    <a:pt x="842" y="1"/>
                    <a:pt x="876" y="1"/>
                  </a:cubicBezTo>
                  <a:cubicBezTo>
                    <a:pt x="921" y="1"/>
                    <a:pt x="946" y="23"/>
                    <a:pt x="963" y="38"/>
                  </a:cubicBezTo>
                  <a:lnTo>
                    <a:pt x="926" y="64"/>
                  </a:lnTo>
                  <a:cubicBezTo>
                    <a:pt x="920" y="58"/>
                    <a:pt x="915" y="53"/>
                    <a:pt x="907" y="48"/>
                  </a:cubicBezTo>
                  <a:cubicBezTo>
                    <a:pt x="900" y="45"/>
                    <a:pt x="887" y="40"/>
                    <a:pt x="875" y="40"/>
                  </a:cubicBezTo>
                  <a:cubicBezTo>
                    <a:pt x="855" y="40"/>
                    <a:pt x="846" y="51"/>
                    <a:pt x="846" y="60"/>
                  </a:cubicBezTo>
                  <a:cubicBezTo>
                    <a:pt x="846" y="75"/>
                    <a:pt x="862" y="78"/>
                    <a:pt x="871" y="79"/>
                  </a:cubicBezTo>
                  <a:cubicBezTo>
                    <a:pt x="891" y="81"/>
                    <a:pt x="920" y="87"/>
                    <a:pt x="931" y="90"/>
                  </a:cubicBezTo>
                  <a:cubicBezTo>
                    <a:pt x="953" y="99"/>
                    <a:pt x="965" y="116"/>
                    <a:pt x="965" y="139"/>
                  </a:cubicBezTo>
                  <a:cubicBezTo>
                    <a:pt x="965" y="153"/>
                    <a:pt x="959" y="168"/>
                    <a:pt x="949" y="180"/>
                  </a:cubicBezTo>
                  <a:cubicBezTo>
                    <a:pt x="931" y="201"/>
                    <a:pt x="903" y="207"/>
                    <a:pt x="875" y="207"/>
                  </a:cubicBezTo>
                  <a:cubicBezTo>
                    <a:pt x="820" y="207"/>
                    <a:pt x="798" y="181"/>
                    <a:pt x="786" y="167"/>
                  </a:cubicBezTo>
                  <a:lnTo>
                    <a:pt x="823" y="143"/>
                  </a:lnTo>
                  <a:lnTo>
                    <a:pt x="823" y="143"/>
                  </a:lnTo>
                  <a:close/>
                  <a:moveTo>
                    <a:pt x="596" y="6"/>
                  </a:moveTo>
                  <a:lnTo>
                    <a:pt x="596" y="6"/>
                  </a:lnTo>
                  <a:lnTo>
                    <a:pt x="645" y="6"/>
                  </a:lnTo>
                  <a:lnTo>
                    <a:pt x="687" y="78"/>
                  </a:lnTo>
                  <a:cubicBezTo>
                    <a:pt x="703" y="106"/>
                    <a:pt x="708" y="115"/>
                    <a:pt x="717" y="132"/>
                  </a:cubicBezTo>
                  <a:lnTo>
                    <a:pt x="715" y="6"/>
                  </a:lnTo>
                  <a:lnTo>
                    <a:pt x="762" y="6"/>
                  </a:lnTo>
                  <a:lnTo>
                    <a:pt x="762" y="202"/>
                  </a:lnTo>
                  <a:lnTo>
                    <a:pt x="713" y="202"/>
                  </a:lnTo>
                  <a:lnTo>
                    <a:pt x="677" y="140"/>
                  </a:lnTo>
                  <a:cubicBezTo>
                    <a:pt x="659" y="111"/>
                    <a:pt x="656" y="105"/>
                    <a:pt x="642" y="79"/>
                  </a:cubicBezTo>
                  <a:lnTo>
                    <a:pt x="644" y="202"/>
                  </a:lnTo>
                  <a:lnTo>
                    <a:pt x="596" y="202"/>
                  </a:lnTo>
                  <a:lnTo>
                    <a:pt x="596" y="6"/>
                  </a:lnTo>
                  <a:lnTo>
                    <a:pt x="596" y="6"/>
                  </a:lnTo>
                  <a:close/>
                  <a:moveTo>
                    <a:pt x="477" y="53"/>
                  </a:moveTo>
                  <a:lnTo>
                    <a:pt x="477" y="53"/>
                  </a:lnTo>
                  <a:cubicBezTo>
                    <a:pt x="474" y="63"/>
                    <a:pt x="472" y="73"/>
                    <a:pt x="469" y="83"/>
                  </a:cubicBezTo>
                  <a:cubicBezTo>
                    <a:pt x="465" y="98"/>
                    <a:pt x="457" y="121"/>
                    <a:pt x="453" y="136"/>
                  </a:cubicBezTo>
                  <a:lnTo>
                    <a:pt x="503" y="136"/>
                  </a:lnTo>
                  <a:lnTo>
                    <a:pt x="477" y="53"/>
                  </a:lnTo>
                  <a:lnTo>
                    <a:pt x="477" y="53"/>
                  </a:lnTo>
                  <a:close/>
                  <a:moveTo>
                    <a:pt x="503" y="6"/>
                  </a:moveTo>
                  <a:lnTo>
                    <a:pt x="503" y="6"/>
                  </a:lnTo>
                  <a:lnTo>
                    <a:pt x="576" y="202"/>
                  </a:lnTo>
                  <a:lnTo>
                    <a:pt x="523" y="202"/>
                  </a:lnTo>
                  <a:lnTo>
                    <a:pt x="514" y="171"/>
                  </a:lnTo>
                  <a:lnTo>
                    <a:pt x="441" y="171"/>
                  </a:lnTo>
                  <a:lnTo>
                    <a:pt x="432" y="202"/>
                  </a:lnTo>
                  <a:lnTo>
                    <a:pt x="379" y="202"/>
                  </a:lnTo>
                  <a:lnTo>
                    <a:pt x="452" y="6"/>
                  </a:lnTo>
                  <a:lnTo>
                    <a:pt x="503" y="6"/>
                  </a:lnTo>
                  <a:lnTo>
                    <a:pt x="503" y="6"/>
                  </a:lnTo>
                  <a:close/>
                  <a:moveTo>
                    <a:pt x="315" y="6"/>
                  </a:moveTo>
                  <a:lnTo>
                    <a:pt x="315" y="6"/>
                  </a:lnTo>
                  <a:lnTo>
                    <a:pt x="365" y="6"/>
                  </a:lnTo>
                  <a:lnTo>
                    <a:pt x="365" y="148"/>
                  </a:lnTo>
                  <a:cubicBezTo>
                    <a:pt x="365" y="166"/>
                    <a:pt x="365" y="178"/>
                    <a:pt x="355" y="189"/>
                  </a:cubicBezTo>
                  <a:cubicBezTo>
                    <a:pt x="344" y="201"/>
                    <a:pt x="326" y="202"/>
                    <a:pt x="310" y="202"/>
                  </a:cubicBezTo>
                  <a:lnTo>
                    <a:pt x="277" y="202"/>
                  </a:lnTo>
                  <a:lnTo>
                    <a:pt x="277" y="163"/>
                  </a:lnTo>
                  <a:lnTo>
                    <a:pt x="285" y="163"/>
                  </a:lnTo>
                  <a:cubicBezTo>
                    <a:pt x="312" y="163"/>
                    <a:pt x="315" y="160"/>
                    <a:pt x="315" y="142"/>
                  </a:cubicBezTo>
                  <a:lnTo>
                    <a:pt x="315" y="6"/>
                  </a:lnTo>
                  <a:lnTo>
                    <a:pt x="315" y="6"/>
                  </a:lnTo>
                  <a:close/>
                  <a:moveTo>
                    <a:pt x="97" y="53"/>
                  </a:moveTo>
                  <a:lnTo>
                    <a:pt x="97" y="53"/>
                  </a:lnTo>
                  <a:cubicBezTo>
                    <a:pt x="95" y="63"/>
                    <a:pt x="92" y="73"/>
                    <a:pt x="89" y="83"/>
                  </a:cubicBezTo>
                  <a:cubicBezTo>
                    <a:pt x="85" y="98"/>
                    <a:pt x="78" y="121"/>
                    <a:pt x="73" y="136"/>
                  </a:cubicBezTo>
                  <a:lnTo>
                    <a:pt x="123" y="136"/>
                  </a:lnTo>
                  <a:lnTo>
                    <a:pt x="97" y="53"/>
                  </a:lnTo>
                  <a:lnTo>
                    <a:pt x="97" y="53"/>
                  </a:lnTo>
                  <a:close/>
                  <a:moveTo>
                    <a:pt x="124" y="6"/>
                  </a:moveTo>
                  <a:lnTo>
                    <a:pt x="124" y="6"/>
                  </a:lnTo>
                  <a:lnTo>
                    <a:pt x="196" y="202"/>
                  </a:lnTo>
                  <a:lnTo>
                    <a:pt x="144" y="202"/>
                  </a:lnTo>
                  <a:lnTo>
                    <a:pt x="134" y="171"/>
                  </a:lnTo>
                  <a:lnTo>
                    <a:pt x="62" y="171"/>
                  </a:lnTo>
                  <a:lnTo>
                    <a:pt x="52" y="202"/>
                  </a:lnTo>
                  <a:lnTo>
                    <a:pt x="0" y="202"/>
                  </a:lnTo>
                  <a:lnTo>
                    <a:pt x="73" y="6"/>
                  </a:lnTo>
                  <a:lnTo>
                    <a:pt x="124" y="6"/>
                  </a:lnTo>
                  <a:close/>
                </a:path>
              </a:pathLst>
            </a:custGeom>
            <a:solidFill>
              <a:srgbClr val="8C8C8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" name="Freeform 9"/>
            <p:cNvSpPr>
              <a:spLocks noEditPoints="1"/>
            </p:cNvSpPr>
            <p:nvPr userDrawn="1"/>
          </p:nvSpPr>
          <p:spPr bwMode="auto">
            <a:xfrm>
              <a:off x="4817" y="2964"/>
              <a:ext cx="408" cy="75"/>
            </a:xfrm>
            <a:custGeom>
              <a:avLst/>
              <a:gdLst>
                <a:gd name="T0" fmla="*/ 2879 w 3218"/>
                <a:gd name="T1" fmla="*/ 212 h 584"/>
                <a:gd name="T2" fmla="*/ 2035 w 3218"/>
                <a:gd name="T3" fmla="*/ 212 h 584"/>
                <a:gd name="T4" fmla="*/ 2198 w 3218"/>
                <a:gd name="T5" fmla="*/ 170 h 584"/>
                <a:gd name="T6" fmla="*/ 1787 w 3218"/>
                <a:gd name="T7" fmla="*/ 546 h 584"/>
                <a:gd name="T8" fmla="*/ 2686 w 3218"/>
                <a:gd name="T9" fmla="*/ 327 h 584"/>
                <a:gd name="T10" fmla="*/ 1850 w 3218"/>
                <a:gd name="T11" fmla="*/ 22 h 584"/>
                <a:gd name="T12" fmla="*/ 1848 w 3218"/>
                <a:gd name="T13" fmla="*/ 20 h 584"/>
                <a:gd name="T14" fmla="*/ 1736 w 3218"/>
                <a:gd name="T15" fmla="*/ 517 h 584"/>
                <a:gd name="T16" fmla="*/ 2011 w 3218"/>
                <a:gd name="T17" fmla="*/ 368 h 584"/>
                <a:gd name="T18" fmla="*/ 2201 w 3218"/>
                <a:gd name="T19" fmla="*/ 338 h 584"/>
                <a:gd name="T20" fmla="*/ 2322 w 3218"/>
                <a:gd name="T21" fmla="*/ 352 h 584"/>
                <a:gd name="T22" fmla="*/ 2456 w 3218"/>
                <a:gd name="T23" fmla="*/ 348 h 584"/>
                <a:gd name="T24" fmla="*/ 2590 w 3218"/>
                <a:gd name="T25" fmla="*/ 344 h 584"/>
                <a:gd name="T26" fmla="*/ 2716 w 3218"/>
                <a:gd name="T27" fmla="*/ 265 h 584"/>
                <a:gd name="T28" fmla="*/ 2973 w 3218"/>
                <a:gd name="T29" fmla="*/ 223 h 584"/>
                <a:gd name="T30" fmla="*/ 3104 w 3218"/>
                <a:gd name="T31" fmla="*/ 234 h 584"/>
                <a:gd name="T32" fmla="*/ 3218 w 3218"/>
                <a:gd name="T33" fmla="*/ 297 h 584"/>
                <a:gd name="T34" fmla="*/ 3137 w 3218"/>
                <a:gd name="T35" fmla="*/ 175 h 584"/>
                <a:gd name="T36" fmla="*/ 3017 w 3218"/>
                <a:gd name="T37" fmla="*/ 175 h 584"/>
                <a:gd name="T38" fmla="*/ 2909 w 3218"/>
                <a:gd name="T39" fmla="*/ 250 h 584"/>
                <a:gd name="T40" fmla="*/ 2849 w 3218"/>
                <a:gd name="T41" fmla="*/ 178 h 584"/>
                <a:gd name="T42" fmla="*/ 2661 w 3218"/>
                <a:gd name="T43" fmla="*/ 183 h 584"/>
                <a:gd name="T44" fmla="*/ 2516 w 3218"/>
                <a:gd name="T45" fmla="*/ 197 h 584"/>
                <a:gd name="T46" fmla="*/ 2396 w 3218"/>
                <a:gd name="T47" fmla="*/ 197 h 584"/>
                <a:gd name="T48" fmla="*/ 2251 w 3218"/>
                <a:gd name="T49" fmla="*/ 207 h 584"/>
                <a:gd name="T50" fmla="*/ 2222 w 3218"/>
                <a:gd name="T51" fmla="*/ 6 h 584"/>
                <a:gd name="T52" fmla="*/ 2066 w 3218"/>
                <a:gd name="T53" fmla="*/ 251 h 584"/>
                <a:gd name="T54" fmla="*/ 2005 w 3218"/>
                <a:gd name="T55" fmla="*/ 178 h 584"/>
                <a:gd name="T56" fmla="*/ 1862 w 3218"/>
                <a:gd name="T57" fmla="*/ 0 h 584"/>
                <a:gd name="T58" fmla="*/ 1659 w 3218"/>
                <a:gd name="T59" fmla="*/ 219 h 584"/>
                <a:gd name="T60" fmla="*/ 1572 w 3218"/>
                <a:gd name="T61" fmla="*/ 253 h 584"/>
                <a:gd name="T62" fmla="*/ 1674 w 3218"/>
                <a:gd name="T63" fmla="*/ 320 h 584"/>
                <a:gd name="T64" fmla="*/ 1612 w 3218"/>
                <a:gd name="T65" fmla="*/ 310 h 584"/>
                <a:gd name="T66" fmla="*/ 1168 w 3218"/>
                <a:gd name="T67" fmla="*/ 212 h 584"/>
                <a:gd name="T68" fmla="*/ 324 w 3218"/>
                <a:gd name="T69" fmla="*/ 212 h 584"/>
                <a:gd name="T70" fmla="*/ 487 w 3218"/>
                <a:gd name="T71" fmla="*/ 127 h 584"/>
                <a:gd name="T72" fmla="*/ 487 w 3218"/>
                <a:gd name="T73" fmla="*/ 127 h 584"/>
                <a:gd name="T74" fmla="*/ 1231 w 3218"/>
                <a:gd name="T75" fmla="*/ 243 h 584"/>
                <a:gd name="T76" fmla="*/ 1334 w 3218"/>
                <a:gd name="T77" fmla="*/ 348 h 584"/>
                <a:gd name="T78" fmla="*/ 1505 w 3218"/>
                <a:gd name="T79" fmla="*/ 303 h 584"/>
                <a:gd name="T80" fmla="*/ 1454 w 3218"/>
                <a:gd name="T81" fmla="*/ 214 h 584"/>
                <a:gd name="T82" fmla="*/ 1335 w 3218"/>
                <a:gd name="T83" fmla="*/ 214 h 584"/>
                <a:gd name="T84" fmla="*/ 1169 w 3218"/>
                <a:gd name="T85" fmla="*/ 246 h 584"/>
                <a:gd name="T86" fmla="*/ 1128 w 3218"/>
                <a:gd name="T87" fmla="*/ 194 h 584"/>
                <a:gd name="T88" fmla="*/ 958 w 3218"/>
                <a:gd name="T89" fmla="*/ 171 h 584"/>
                <a:gd name="T90" fmla="*/ 839 w 3218"/>
                <a:gd name="T91" fmla="*/ 175 h 584"/>
                <a:gd name="T92" fmla="*/ 720 w 3218"/>
                <a:gd name="T93" fmla="*/ 175 h 584"/>
                <a:gd name="T94" fmla="*/ 580 w 3218"/>
                <a:gd name="T95" fmla="*/ 175 h 584"/>
                <a:gd name="T96" fmla="*/ 546 w 3218"/>
                <a:gd name="T97" fmla="*/ 55 h 584"/>
                <a:gd name="T98" fmla="*/ 298 w 3218"/>
                <a:gd name="T99" fmla="*/ 207 h 584"/>
                <a:gd name="T100" fmla="*/ 285 w 3218"/>
                <a:gd name="T101" fmla="*/ 194 h 584"/>
                <a:gd name="T102" fmla="*/ 160 w 3218"/>
                <a:gd name="T103" fmla="*/ 7 h 584"/>
                <a:gd name="T104" fmla="*/ 163 w 3218"/>
                <a:gd name="T105" fmla="*/ 372 h 584"/>
                <a:gd name="T106" fmla="*/ 388 w 3218"/>
                <a:gd name="T107" fmla="*/ 248 h 584"/>
                <a:gd name="T108" fmla="*/ 555 w 3218"/>
                <a:gd name="T109" fmla="*/ 225 h 584"/>
                <a:gd name="T110" fmla="*/ 693 w 3218"/>
                <a:gd name="T111" fmla="*/ 228 h 584"/>
                <a:gd name="T112" fmla="*/ 812 w 3218"/>
                <a:gd name="T113" fmla="*/ 225 h 584"/>
                <a:gd name="T114" fmla="*/ 961 w 3218"/>
                <a:gd name="T115" fmla="*/ 277 h 584"/>
                <a:gd name="T116" fmla="*/ 1079 w 3218"/>
                <a:gd name="T117" fmla="*/ 213 h 584"/>
                <a:gd name="T118" fmla="*/ 118 w 3218"/>
                <a:gd name="T119" fmla="*/ 341 h 584"/>
                <a:gd name="T120" fmla="*/ 956 w 3218"/>
                <a:gd name="T121" fmla="*/ 332 h 584"/>
                <a:gd name="T122" fmla="*/ 99 w 3218"/>
                <a:gd name="T123" fmla="*/ 197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18" h="584">
                  <a:moveTo>
                    <a:pt x="2879" y="212"/>
                  </a:moveTo>
                  <a:lnTo>
                    <a:pt x="2879" y="212"/>
                  </a:lnTo>
                  <a:cubicBezTo>
                    <a:pt x="2879" y="206"/>
                    <a:pt x="2882" y="203"/>
                    <a:pt x="2887" y="203"/>
                  </a:cubicBezTo>
                  <a:cubicBezTo>
                    <a:pt x="2894" y="203"/>
                    <a:pt x="2906" y="212"/>
                    <a:pt x="2912" y="228"/>
                  </a:cubicBezTo>
                  <a:cubicBezTo>
                    <a:pt x="2910" y="228"/>
                    <a:pt x="2907" y="229"/>
                    <a:pt x="2904" y="229"/>
                  </a:cubicBezTo>
                  <a:cubicBezTo>
                    <a:pt x="2890" y="229"/>
                    <a:pt x="2879" y="222"/>
                    <a:pt x="2879" y="212"/>
                  </a:cubicBezTo>
                  <a:lnTo>
                    <a:pt x="2879" y="212"/>
                  </a:lnTo>
                  <a:close/>
                  <a:moveTo>
                    <a:pt x="2035" y="212"/>
                  </a:moveTo>
                  <a:lnTo>
                    <a:pt x="2035" y="212"/>
                  </a:lnTo>
                  <a:cubicBezTo>
                    <a:pt x="2035" y="206"/>
                    <a:pt x="2039" y="203"/>
                    <a:pt x="2043" y="203"/>
                  </a:cubicBezTo>
                  <a:cubicBezTo>
                    <a:pt x="2051" y="203"/>
                    <a:pt x="2062" y="212"/>
                    <a:pt x="2068" y="228"/>
                  </a:cubicBezTo>
                  <a:cubicBezTo>
                    <a:pt x="2047" y="228"/>
                    <a:pt x="2035" y="223"/>
                    <a:pt x="2035" y="212"/>
                  </a:cubicBezTo>
                  <a:lnTo>
                    <a:pt x="2035" y="212"/>
                  </a:lnTo>
                  <a:close/>
                  <a:moveTo>
                    <a:pt x="2198" y="127"/>
                  </a:moveTo>
                  <a:lnTo>
                    <a:pt x="2198" y="127"/>
                  </a:lnTo>
                  <a:cubicBezTo>
                    <a:pt x="2198" y="40"/>
                    <a:pt x="2215" y="27"/>
                    <a:pt x="2220" y="27"/>
                  </a:cubicBezTo>
                  <a:cubicBezTo>
                    <a:pt x="2229" y="27"/>
                    <a:pt x="2230" y="33"/>
                    <a:pt x="2230" y="66"/>
                  </a:cubicBezTo>
                  <a:cubicBezTo>
                    <a:pt x="2230" y="101"/>
                    <a:pt x="2216" y="146"/>
                    <a:pt x="2198" y="170"/>
                  </a:cubicBezTo>
                  <a:lnTo>
                    <a:pt x="2198" y="127"/>
                  </a:lnTo>
                  <a:lnTo>
                    <a:pt x="2198" y="127"/>
                  </a:lnTo>
                  <a:close/>
                  <a:moveTo>
                    <a:pt x="1829" y="341"/>
                  </a:moveTo>
                  <a:lnTo>
                    <a:pt x="1829" y="341"/>
                  </a:lnTo>
                  <a:cubicBezTo>
                    <a:pt x="1834" y="371"/>
                    <a:pt x="1838" y="402"/>
                    <a:pt x="1838" y="426"/>
                  </a:cubicBezTo>
                  <a:cubicBezTo>
                    <a:pt x="1838" y="482"/>
                    <a:pt x="1819" y="547"/>
                    <a:pt x="1787" y="546"/>
                  </a:cubicBezTo>
                  <a:cubicBezTo>
                    <a:pt x="1775" y="546"/>
                    <a:pt x="1764" y="534"/>
                    <a:pt x="1764" y="513"/>
                  </a:cubicBezTo>
                  <a:cubicBezTo>
                    <a:pt x="1763" y="443"/>
                    <a:pt x="1796" y="383"/>
                    <a:pt x="1829" y="341"/>
                  </a:cubicBezTo>
                  <a:lnTo>
                    <a:pt x="1829" y="341"/>
                  </a:lnTo>
                  <a:close/>
                  <a:moveTo>
                    <a:pt x="2681" y="301"/>
                  </a:moveTo>
                  <a:lnTo>
                    <a:pt x="2681" y="301"/>
                  </a:lnTo>
                  <a:cubicBezTo>
                    <a:pt x="2685" y="311"/>
                    <a:pt x="2686" y="319"/>
                    <a:pt x="2686" y="327"/>
                  </a:cubicBezTo>
                  <a:cubicBezTo>
                    <a:pt x="2686" y="336"/>
                    <a:pt x="2683" y="346"/>
                    <a:pt x="2676" y="346"/>
                  </a:cubicBezTo>
                  <a:cubicBezTo>
                    <a:pt x="2672" y="346"/>
                    <a:pt x="2667" y="341"/>
                    <a:pt x="2667" y="332"/>
                  </a:cubicBezTo>
                  <a:cubicBezTo>
                    <a:pt x="2667" y="324"/>
                    <a:pt x="2675" y="310"/>
                    <a:pt x="2681" y="301"/>
                  </a:cubicBezTo>
                  <a:lnTo>
                    <a:pt x="2681" y="301"/>
                  </a:lnTo>
                  <a:close/>
                  <a:moveTo>
                    <a:pt x="1850" y="22"/>
                  </a:moveTo>
                  <a:lnTo>
                    <a:pt x="1850" y="22"/>
                  </a:lnTo>
                  <a:cubicBezTo>
                    <a:pt x="1850" y="26"/>
                    <a:pt x="1842" y="42"/>
                    <a:pt x="1831" y="71"/>
                  </a:cubicBezTo>
                  <a:cubicBezTo>
                    <a:pt x="1820" y="102"/>
                    <a:pt x="1810" y="145"/>
                    <a:pt x="1810" y="197"/>
                  </a:cubicBezTo>
                  <a:cubicBezTo>
                    <a:pt x="1810" y="228"/>
                    <a:pt x="1818" y="269"/>
                    <a:pt x="1824" y="310"/>
                  </a:cubicBezTo>
                  <a:lnTo>
                    <a:pt x="1805" y="335"/>
                  </a:lnTo>
                  <a:cubicBezTo>
                    <a:pt x="1775" y="299"/>
                    <a:pt x="1757" y="258"/>
                    <a:pt x="1757" y="188"/>
                  </a:cubicBezTo>
                  <a:cubicBezTo>
                    <a:pt x="1757" y="89"/>
                    <a:pt x="1817" y="20"/>
                    <a:pt x="1848" y="20"/>
                  </a:cubicBezTo>
                  <a:cubicBezTo>
                    <a:pt x="1850" y="20"/>
                    <a:pt x="1850" y="21"/>
                    <a:pt x="1850" y="22"/>
                  </a:cubicBezTo>
                  <a:lnTo>
                    <a:pt x="1850" y="22"/>
                  </a:lnTo>
                  <a:close/>
                  <a:moveTo>
                    <a:pt x="1753" y="314"/>
                  </a:moveTo>
                  <a:lnTo>
                    <a:pt x="1753" y="314"/>
                  </a:lnTo>
                  <a:cubicBezTo>
                    <a:pt x="1763" y="328"/>
                    <a:pt x="1776" y="341"/>
                    <a:pt x="1791" y="356"/>
                  </a:cubicBezTo>
                  <a:cubicBezTo>
                    <a:pt x="1760" y="406"/>
                    <a:pt x="1736" y="465"/>
                    <a:pt x="1736" y="517"/>
                  </a:cubicBezTo>
                  <a:cubicBezTo>
                    <a:pt x="1736" y="555"/>
                    <a:pt x="1745" y="584"/>
                    <a:pt x="1773" y="584"/>
                  </a:cubicBezTo>
                  <a:cubicBezTo>
                    <a:pt x="1831" y="584"/>
                    <a:pt x="1875" y="462"/>
                    <a:pt x="1875" y="372"/>
                  </a:cubicBezTo>
                  <a:cubicBezTo>
                    <a:pt x="1875" y="346"/>
                    <a:pt x="1874" y="319"/>
                    <a:pt x="1871" y="292"/>
                  </a:cubicBezTo>
                  <a:cubicBezTo>
                    <a:pt x="1893" y="269"/>
                    <a:pt x="1926" y="238"/>
                    <a:pt x="1934" y="235"/>
                  </a:cubicBezTo>
                  <a:cubicBezTo>
                    <a:pt x="1931" y="248"/>
                    <a:pt x="1928" y="261"/>
                    <a:pt x="1928" y="273"/>
                  </a:cubicBezTo>
                  <a:cubicBezTo>
                    <a:pt x="1928" y="322"/>
                    <a:pt x="1956" y="368"/>
                    <a:pt x="2011" y="368"/>
                  </a:cubicBezTo>
                  <a:cubicBezTo>
                    <a:pt x="2061" y="368"/>
                    <a:pt x="2100" y="327"/>
                    <a:pt x="2100" y="269"/>
                  </a:cubicBezTo>
                  <a:cubicBezTo>
                    <a:pt x="2100" y="262"/>
                    <a:pt x="2099" y="255"/>
                    <a:pt x="2099" y="248"/>
                  </a:cubicBezTo>
                  <a:cubicBezTo>
                    <a:pt x="2117" y="245"/>
                    <a:pt x="2134" y="240"/>
                    <a:pt x="2151" y="230"/>
                  </a:cubicBezTo>
                  <a:lnTo>
                    <a:pt x="2151" y="347"/>
                  </a:lnTo>
                  <a:cubicBezTo>
                    <a:pt x="2151" y="363"/>
                    <a:pt x="2161" y="368"/>
                    <a:pt x="2171" y="368"/>
                  </a:cubicBezTo>
                  <a:cubicBezTo>
                    <a:pt x="2185" y="368"/>
                    <a:pt x="2191" y="359"/>
                    <a:pt x="2201" y="338"/>
                  </a:cubicBezTo>
                  <a:cubicBezTo>
                    <a:pt x="2210" y="320"/>
                    <a:pt x="2232" y="280"/>
                    <a:pt x="2245" y="256"/>
                  </a:cubicBezTo>
                  <a:cubicBezTo>
                    <a:pt x="2256" y="237"/>
                    <a:pt x="2261" y="225"/>
                    <a:pt x="2266" y="225"/>
                  </a:cubicBezTo>
                  <a:cubicBezTo>
                    <a:pt x="2267" y="225"/>
                    <a:pt x="2269" y="228"/>
                    <a:pt x="2269" y="235"/>
                  </a:cubicBezTo>
                  <a:lnTo>
                    <a:pt x="2269" y="335"/>
                  </a:lnTo>
                  <a:cubicBezTo>
                    <a:pt x="2269" y="362"/>
                    <a:pt x="2283" y="368"/>
                    <a:pt x="2295" y="368"/>
                  </a:cubicBezTo>
                  <a:cubicBezTo>
                    <a:pt x="2306" y="368"/>
                    <a:pt x="2314" y="362"/>
                    <a:pt x="2322" y="352"/>
                  </a:cubicBezTo>
                  <a:cubicBezTo>
                    <a:pt x="2352" y="308"/>
                    <a:pt x="2384" y="257"/>
                    <a:pt x="2397" y="235"/>
                  </a:cubicBezTo>
                  <a:cubicBezTo>
                    <a:pt x="2399" y="231"/>
                    <a:pt x="2402" y="228"/>
                    <a:pt x="2404" y="228"/>
                  </a:cubicBezTo>
                  <a:cubicBezTo>
                    <a:pt x="2407" y="228"/>
                    <a:pt x="2408" y="229"/>
                    <a:pt x="2408" y="236"/>
                  </a:cubicBezTo>
                  <a:lnTo>
                    <a:pt x="2408" y="341"/>
                  </a:lnTo>
                  <a:cubicBezTo>
                    <a:pt x="2408" y="360"/>
                    <a:pt x="2414" y="368"/>
                    <a:pt x="2428" y="368"/>
                  </a:cubicBezTo>
                  <a:cubicBezTo>
                    <a:pt x="2442" y="368"/>
                    <a:pt x="2450" y="359"/>
                    <a:pt x="2456" y="348"/>
                  </a:cubicBezTo>
                  <a:cubicBezTo>
                    <a:pt x="2475" y="308"/>
                    <a:pt x="2504" y="255"/>
                    <a:pt x="2516" y="234"/>
                  </a:cubicBezTo>
                  <a:cubicBezTo>
                    <a:pt x="2519" y="229"/>
                    <a:pt x="2522" y="225"/>
                    <a:pt x="2524" y="225"/>
                  </a:cubicBezTo>
                  <a:cubicBezTo>
                    <a:pt x="2526" y="225"/>
                    <a:pt x="2526" y="228"/>
                    <a:pt x="2526" y="235"/>
                  </a:cubicBezTo>
                  <a:lnTo>
                    <a:pt x="2526" y="335"/>
                  </a:lnTo>
                  <a:cubicBezTo>
                    <a:pt x="2526" y="362"/>
                    <a:pt x="2540" y="368"/>
                    <a:pt x="2552" y="368"/>
                  </a:cubicBezTo>
                  <a:cubicBezTo>
                    <a:pt x="2569" y="368"/>
                    <a:pt x="2580" y="357"/>
                    <a:pt x="2590" y="344"/>
                  </a:cubicBezTo>
                  <a:cubicBezTo>
                    <a:pt x="2609" y="318"/>
                    <a:pt x="2637" y="273"/>
                    <a:pt x="2654" y="245"/>
                  </a:cubicBezTo>
                  <a:cubicBezTo>
                    <a:pt x="2660" y="254"/>
                    <a:pt x="2666" y="265"/>
                    <a:pt x="2672" y="277"/>
                  </a:cubicBezTo>
                  <a:cubicBezTo>
                    <a:pt x="2657" y="294"/>
                    <a:pt x="2644" y="314"/>
                    <a:pt x="2644" y="334"/>
                  </a:cubicBezTo>
                  <a:cubicBezTo>
                    <a:pt x="2644" y="355"/>
                    <a:pt x="2659" y="368"/>
                    <a:pt x="2675" y="368"/>
                  </a:cubicBezTo>
                  <a:cubicBezTo>
                    <a:pt x="2701" y="368"/>
                    <a:pt x="2726" y="343"/>
                    <a:pt x="2726" y="307"/>
                  </a:cubicBezTo>
                  <a:cubicBezTo>
                    <a:pt x="2726" y="293"/>
                    <a:pt x="2722" y="279"/>
                    <a:pt x="2716" y="265"/>
                  </a:cubicBezTo>
                  <a:cubicBezTo>
                    <a:pt x="2740" y="241"/>
                    <a:pt x="2769" y="219"/>
                    <a:pt x="2790" y="213"/>
                  </a:cubicBezTo>
                  <a:cubicBezTo>
                    <a:pt x="2780" y="227"/>
                    <a:pt x="2772" y="247"/>
                    <a:pt x="2772" y="273"/>
                  </a:cubicBezTo>
                  <a:cubicBezTo>
                    <a:pt x="2772" y="322"/>
                    <a:pt x="2800" y="368"/>
                    <a:pt x="2854" y="368"/>
                  </a:cubicBezTo>
                  <a:cubicBezTo>
                    <a:pt x="2907" y="368"/>
                    <a:pt x="2943" y="327"/>
                    <a:pt x="2943" y="269"/>
                  </a:cubicBezTo>
                  <a:cubicBezTo>
                    <a:pt x="2943" y="252"/>
                    <a:pt x="2943" y="250"/>
                    <a:pt x="2942" y="243"/>
                  </a:cubicBezTo>
                  <a:cubicBezTo>
                    <a:pt x="2954" y="238"/>
                    <a:pt x="2965" y="230"/>
                    <a:pt x="2973" y="223"/>
                  </a:cubicBezTo>
                  <a:cubicBezTo>
                    <a:pt x="2980" y="218"/>
                    <a:pt x="2985" y="215"/>
                    <a:pt x="2989" y="215"/>
                  </a:cubicBezTo>
                  <a:cubicBezTo>
                    <a:pt x="2994" y="215"/>
                    <a:pt x="2997" y="219"/>
                    <a:pt x="2997" y="227"/>
                  </a:cubicBezTo>
                  <a:lnTo>
                    <a:pt x="2997" y="341"/>
                  </a:lnTo>
                  <a:cubicBezTo>
                    <a:pt x="2997" y="360"/>
                    <a:pt x="3002" y="368"/>
                    <a:pt x="3017" y="368"/>
                  </a:cubicBezTo>
                  <a:cubicBezTo>
                    <a:pt x="3030" y="368"/>
                    <a:pt x="3040" y="359"/>
                    <a:pt x="3045" y="348"/>
                  </a:cubicBezTo>
                  <a:cubicBezTo>
                    <a:pt x="3064" y="308"/>
                    <a:pt x="3092" y="254"/>
                    <a:pt x="3104" y="234"/>
                  </a:cubicBezTo>
                  <a:cubicBezTo>
                    <a:pt x="3108" y="229"/>
                    <a:pt x="3110" y="226"/>
                    <a:pt x="3111" y="226"/>
                  </a:cubicBezTo>
                  <a:cubicBezTo>
                    <a:pt x="3114" y="226"/>
                    <a:pt x="3115" y="227"/>
                    <a:pt x="3115" y="235"/>
                  </a:cubicBezTo>
                  <a:lnTo>
                    <a:pt x="3115" y="326"/>
                  </a:lnTo>
                  <a:cubicBezTo>
                    <a:pt x="3115" y="352"/>
                    <a:pt x="3127" y="368"/>
                    <a:pt x="3152" y="368"/>
                  </a:cubicBezTo>
                  <a:cubicBezTo>
                    <a:pt x="3179" y="368"/>
                    <a:pt x="3193" y="343"/>
                    <a:pt x="3216" y="303"/>
                  </a:cubicBezTo>
                  <a:cubicBezTo>
                    <a:pt x="3217" y="301"/>
                    <a:pt x="3218" y="299"/>
                    <a:pt x="3218" y="297"/>
                  </a:cubicBezTo>
                  <a:cubicBezTo>
                    <a:pt x="3218" y="292"/>
                    <a:pt x="3213" y="289"/>
                    <a:pt x="3208" y="289"/>
                  </a:cubicBezTo>
                  <a:cubicBezTo>
                    <a:pt x="3203" y="289"/>
                    <a:pt x="3200" y="294"/>
                    <a:pt x="3183" y="314"/>
                  </a:cubicBezTo>
                  <a:cubicBezTo>
                    <a:pt x="3179" y="317"/>
                    <a:pt x="3176" y="322"/>
                    <a:pt x="3169" y="322"/>
                  </a:cubicBezTo>
                  <a:cubicBezTo>
                    <a:pt x="3167" y="322"/>
                    <a:pt x="3165" y="320"/>
                    <a:pt x="3165" y="316"/>
                  </a:cubicBezTo>
                  <a:lnTo>
                    <a:pt x="3165" y="214"/>
                  </a:lnTo>
                  <a:cubicBezTo>
                    <a:pt x="3165" y="186"/>
                    <a:pt x="3153" y="175"/>
                    <a:pt x="3137" y="175"/>
                  </a:cubicBezTo>
                  <a:cubicBezTo>
                    <a:pt x="3124" y="175"/>
                    <a:pt x="3114" y="180"/>
                    <a:pt x="3103" y="197"/>
                  </a:cubicBezTo>
                  <a:cubicBezTo>
                    <a:pt x="3083" y="226"/>
                    <a:pt x="3063" y="267"/>
                    <a:pt x="3052" y="289"/>
                  </a:cubicBezTo>
                  <a:cubicBezTo>
                    <a:pt x="3050" y="291"/>
                    <a:pt x="3049" y="294"/>
                    <a:pt x="3047" y="294"/>
                  </a:cubicBezTo>
                  <a:cubicBezTo>
                    <a:pt x="3046" y="294"/>
                    <a:pt x="3046" y="292"/>
                    <a:pt x="3046" y="289"/>
                  </a:cubicBezTo>
                  <a:lnTo>
                    <a:pt x="3046" y="214"/>
                  </a:lnTo>
                  <a:cubicBezTo>
                    <a:pt x="3046" y="192"/>
                    <a:pt x="3040" y="175"/>
                    <a:pt x="3017" y="175"/>
                  </a:cubicBezTo>
                  <a:cubicBezTo>
                    <a:pt x="2993" y="175"/>
                    <a:pt x="2981" y="192"/>
                    <a:pt x="2963" y="204"/>
                  </a:cubicBezTo>
                  <a:cubicBezTo>
                    <a:pt x="2952" y="212"/>
                    <a:pt x="2942" y="218"/>
                    <a:pt x="2935" y="221"/>
                  </a:cubicBezTo>
                  <a:cubicBezTo>
                    <a:pt x="2923" y="192"/>
                    <a:pt x="2901" y="177"/>
                    <a:pt x="2883" y="177"/>
                  </a:cubicBezTo>
                  <a:cubicBezTo>
                    <a:pt x="2865" y="178"/>
                    <a:pt x="2853" y="188"/>
                    <a:pt x="2853" y="207"/>
                  </a:cubicBezTo>
                  <a:cubicBezTo>
                    <a:pt x="2853" y="227"/>
                    <a:pt x="2864" y="240"/>
                    <a:pt x="2880" y="246"/>
                  </a:cubicBezTo>
                  <a:cubicBezTo>
                    <a:pt x="2889" y="249"/>
                    <a:pt x="2897" y="250"/>
                    <a:pt x="2909" y="250"/>
                  </a:cubicBezTo>
                  <a:cubicBezTo>
                    <a:pt x="2912" y="250"/>
                    <a:pt x="2915" y="250"/>
                    <a:pt x="2918" y="249"/>
                  </a:cubicBezTo>
                  <a:cubicBezTo>
                    <a:pt x="2919" y="255"/>
                    <a:pt x="2918" y="263"/>
                    <a:pt x="2918" y="270"/>
                  </a:cubicBezTo>
                  <a:cubicBezTo>
                    <a:pt x="2918" y="298"/>
                    <a:pt x="2901" y="327"/>
                    <a:pt x="2870" y="327"/>
                  </a:cubicBezTo>
                  <a:cubicBezTo>
                    <a:pt x="2837" y="327"/>
                    <a:pt x="2818" y="295"/>
                    <a:pt x="2818" y="259"/>
                  </a:cubicBezTo>
                  <a:cubicBezTo>
                    <a:pt x="2818" y="232"/>
                    <a:pt x="2826" y="209"/>
                    <a:pt x="2840" y="194"/>
                  </a:cubicBezTo>
                  <a:cubicBezTo>
                    <a:pt x="2845" y="188"/>
                    <a:pt x="2849" y="184"/>
                    <a:pt x="2849" y="178"/>
                  </a:cubicBezTo>
                  <a:cubicBezTo>
                    <a:pt x="2849" y="176"/>
                    <a:pt x="2845" y="175"/>
                    <a:pt x="2842" y="175"/>
                  </a:cubicBezTo>
                  <a:cubicBezTo>
                    <a:pt x="2819" y="175"/>
                    <a:pt x="2795" y="185"/>
                    <a:pt x="2778" y="194"/>
                  </a:cubicBezTo>
                  <a:cubicBezTo>
                    <a:pt x="2756" y="206"/>
                    <a:pt x="2729" y="225"/>
                    <a:pt x="2708" y="244"/>
                  </a:cubicBezTo>
                  <a:cubicBezTo>
                    <a:pt x="2697" y="221"/>
                    <a:pt x="2685" y="200"/>
                    <a:pt x="2678" y="184"/>
                  </a:cubicBezTo>
                  <a:cubicBezTo>
                    <a:pt x="2676" y="178"/>
                    <a:pt x="2674" y="171"/>
                    <a:pt x="2669" y="171"/>
                  </a:cubicBezTo>
                  <a:cubicBezTo>
                    <a:pt x="2665" y="171"/>
                    <a:pt x="2663" y="175"/>
                    <a:pt x="2661" y="183"/>
                  </a:cubicBezTo>
                  <a:cubicBezTo>
                    <a:pt x="2650" y="214"/>
                    <a:pt x="2594" y="304"/>
                    <a:pt x="2582" y="316"/>
                  </a:cubicBezTo>
                  <a:cubicBezTo>
                    <a:pt x="2581" y="318"/>
                    <a:pt x="2579" y="320"/>
                    <a:pt x="2578" y="320"/>
                  </a:cubicBezTo>
                  <a:cubicBezTo>
                    <a:pt x="2577" y="320"/>
                    <a:pt x="2577" y="320"/>
                    <a:pt x="2577" y="316"/>
                  </a:cubicBezTo>
                  <a:lnTo>
                    <a:pt x="2577" y="214"/>
                  </a:lnTo>
                  <a:cubicBezTo>
                    <a:pt x="2577" y="186"/>
                    <a:pt x="2565" y="175"/>
                    <a:pt x="2550" y="175"/>
                  </a:cubicBezTo>
                  <a:cubicBezTo>
                    <a:pt x="2537" y="175"/>
                    <a:pt x="2526" y="180"/>
                    <a:pt x="2516" y="197"/>
                  </a:cubicBezTo>
                  <a:cubicBezTo>
                    <a:pt x="2497" y="226"/>
                    <a:pt x="2473" y="269"/>
                    <a:pt x="2462" y="290"/>
                  </a:cubicBezTo>
                  <a:cubicBezTo>
                    <a:pt x="2460" y="293"/>
                    <a:pt x="2459" y="294"/>
                    <a:pt x="2458" y="294"/>
                  </a:cubicBezTo>
                  <a:cubicBezTo>
                    <a:pt x="2457" y="294"/>
                    <a:pt x="2457" y="292"/>
                    <a:pt x="2457" y="289"/>
                  </a:cubicBezTo>
                  <a:lnTo>
                    <a:pt x="2457" y="214"/>
                  </a:lnTo>
                  <a:cubicBezTo>
                    <a:pt x="2457" y="186"/>
                    <a:pt x="2446" y="175"/>
                    <a:pt x="2431" y="175"/>
                  </a:cubicBezTo>
                  <a:cubicBezTo>
                    <a:pt x="2418" y="175"/>
                    <a:pt x="2405" y="180"/>
                    <a:pt x="2396" y="197"/>
                  </a:cubicBezTo>
                  <a:cubicBezTo>
                    <a:pt x="2371" y="238"/>
                    <a:pt x="2330" y="302"/>
                    <a:pt x="2323" y="312"/>
                  </a:cubicBezTo>
                  <a:cubicBezTo>
                    <a:pt x="2322" y="314"/>
                    <a:pt x="2321" y="316"/>
                    <a:pt x="2319" y="316"/>
                  </a:cubicBezTo>
                  <a:cubicBezTo>
                    <a:pt x="2318" y="316"/>
                    <a:pt x="2317" y="315"/>
                    <a:pt x="2317" y="312"/>
                  </a:cubicBezTo>
                  <a:lnTo>
                    <a:pt x="2317" y="214"/>
                  </a:lnTo>
                  <a:cubicBezTo>
                    <a:pt x="2317" y="186"/>
                    <a:pt x="2306" y="175"/>
                    <a:pt x="2291" y="175"/>
                  </a:cubicBezTo>
                  <a:cubicBezTo>
                    <a:pt x="2270" y="175"/>
                    <a:pt x="2258" y="195"/>
                    <a:pt x="2251" y="207"/>
                  </a:cubicBezTo>
                  <a:cubicBezTo>
                    <a:pt x="2241" y="224"/>
                    <a:pt x="2227" y="247"/>
                    <a:pt x="2215" y="267"/>
                  </a:cubicBezTo>
                  <a:cubicBezTo>
                    <a:pt x="2208" y="281"/>
                    <a:pt x="2201" y="294"/>
                    <a:pt x="2199" y="294"/>
                  </a:cubicBezTo>
                  <a:cubicBezTo>
                    <a:pt x="2198" y="294"/>
                    <a:pt x="2198" y="289"/>
                    <a:pt x="2198" y="279"/>
                  </a:cubicBezTo>
                  <a:lnTo>
                    <a:pt x="2198" y="201"/>
                  </a:lnTo>
                  <a:cubicBezTo>
                    <a:pt x="2235" y="160"/>
                    <a:pt x="2257" y="110"/>
                    <a:pt x="2257" y="55"/>
                  </a:cubicBezTo>
                  <a:cubicBezTo>
                    <a:pt x="2257" y="23"/>
                    <a:pt x="2243" y="6"/>
                    <a:pt x="2222" y="6"/>
                  </a:cubicBezTo>
                  <a:cubicBezTo>
                    <a:pt x="2181" y="6"/>
                    <a:pt x="2151" y="69"/>
                    <a:pt x="2151" y="144"/>
                  </a:cubicBezTo>
                  <a:lnTo>
                    <a:pt x="2151" y="204"/>
                  </a:lnTo>
                  <a:cubicBezTo>
                    <a:pt x="2132" y="216"/>
                    <a:pt x="2114" y="222"/>
                    <a:pt x="2093" y="226"/>
                  </a:cubicBezTo>
                  <a:cubicBezTo>
                    <a:pt x="2082" y="194"/>
                    <a:pt x="2058" y="177"/>
                    <a:pt x="2040" y="177"/>
                  </a:cubicBezTo>
                  <a:cubicBezTo>
                    <a:pt x="2022" y="178"/>
                    <a:pt x="2009" y="188"/>
                    <a:pt x="2009" y="207"/>
                  </a:cubicBezTo>
                  <a:cubicBezTo>
                    <a:pt x="2009" y="238"/>
                    <a:pt x="2039" y="251"/>
                    <a:pt x="2066" y="251"/>
                  </a:cubicBezTo>
                  <a:lnTo>
                    <a:pt x="2073" y="251"/>
                  </a:lnTo>
                  <a:cubicBezTo>
                    <a:pt x="2075" y="257"/>
                    <a:pt x="2075" y="263"/>
                    <a:pt x="2075" y="270"/>
                  </a:cubicBezTo>
                  <a:cubicBezTo>
                    <a:pt x="2075" y="298"/>
                    <a:pt x="2058" y="327"/>
                    <a:pt x="2026" y="327"/>
                  </a:cubicBezTo>
                  <a:cubicBezTo>
                    <a:pt x="1994" y="327"/>
                    <a:pt x="1974" y="295"/>
                    <a:pt x="1974" y="259"/>
                  </a:cubicBezTo>
                  <a:cubicBezTo>
                    <a:pt x="1974" y="232"/>
                    <a:pt x="1983" y="209"/>
                    <a:pt x="1996" y="194"/>
                  </a:cubicBezTo>
                  <a:cubicBezTo>
                    <a:pt x="2001" y="188"/>
                    <a:pt x="2005" y="183"/>
                    <a:pt x="2005" y="178"/>
                  </a:cubicBezTo>
                  <a:cubicBezTo>
                    <a:pt x="2005" y="176"/>
                    <a:pt x="2001" y="175"/>
                    <a:pt x="1998" y="175"/>
                  </a:cubicBezTo>
                  <a:cubicBezTo>
                    <a:pt x="1976" y="175"/>
                    <a:pt x="1927" y="205"/>
                    <a:pt x="1868" y="263"/>
                  </a:cubicBezTo>
                  <a:cubicBezTo>
                    <a:pt x="1863" y="217"/>
                    <a:pt x="1857" y="171"/>
                    <a:pt x="1857" y="127"/>
                  </a:cubicBezTo>
                  <a:cubicBezTo>
                    <a:pt x="1857" y="77"/>
                    <a:pt x="1867" y="35"/>
                    <a:pt x="1869" y="23"/>
                  </a:cubicBezTo>
                  <a:cubicBezTo>
                    <a:pt x="1871" y="16"/>
                    <a:pt x="1871" y="11"/>
                    <a:pt x="1871" y="7"/>
                  </a:cubicBezTo>
                  <a:cubicBezTo>
                    <a:pt x="1871" y="3"/>
                    <a:pt x="1869" y="0"/>
                    <a:pt x="1862" y="0"/>
                  </a:cubicBezTo>
                  <a:cubicBezTo>
                    <a:pt x="1815" y="0"/>
                    <a:pt x="1711" y="75"/>
                    <a:pt x="1711" y="188"/>
                  </a:cubicBezTo>
                  <a:cubicBezTo>
                    <a:pt x="1711" y="234"/>
                    <a:pt x="1721" y="267"/>
                    <a:pt x="1739" y="295"/>
                  </a:cubicBezTo>
                  <a:cubicBezTo>
                    <a:pt x="1732" y="294"/>
                    <a:pt x="1727" y="294"/>
                    <a:pt x="1722" y="294"/>
                  </a:cubicBezTo>
                  <a:cubicBezTo>
                    <a:pt x="1704" y="294"/>
                    <a:pt x="1686" y="299"/>
                    <a:pt x="1675" y="302"/>
                  </a:cubicBezTo>
                  <a:lnTo>
                    <a:pt x="1675" y="290"/>
                  </a:lnTo>
                  <a:cubicBezTo>
                    <a:pt x="1675" y="265"/>
                    <a:pt x="1669" y="230"/>
                    <a:pt x="1659" y="219"/>
                  </a:cubicBezTo>
                  <a:cubicBezTo>
                    <a:pt x="1657" y="217"/>
                    <a:pt x="1656" y="217"/>
                    <a:pt x="1654" y="217"/>
                  </a:cubicBezTo>
                  <a:cubicBezTo>
                    <a:pt x="1649" y="217"/>
                    <a:pt x="1644" y="219"/>
                    <a:pt x="1637" y="223"/>
                  </a:cubicBezTo>
                  <a:cubicBezTo>
                    <a:pt x="1630" y="226"/>
                    <a:pt x="1623" y="230"/>
                    <a:pt x="1623" y="232"/>
                  </a:cubicBezTo>
                  <a:cubicBezTo>
                    <a:pt x="1623" y="233"/>
                    <a:pt x="1623" y="234"/>
                    <a:pt x="1625" y="237"/>
                  </a:cubicBezTo>
                  <a:cubicBezTo>
                    <a:pt x="1629" y="243"/>
                    <a:pt x="1640" y="255"/>
                    <a:pt x="1644" y="282"/>
                  </a:cubicBezTo>
                  <a:cubicBezTo>
                    <a:pt x="1624" y="262"/>
                    <a:pt x="1602" y="253"/>
                    <a:pt x="1572" y="253"/>
                  </a:cubicBezTo>
                  <a:cubicBezTo>
                    <a:pt x="1537" y="253"/>
                    <a:pt x="1526" y="269"/>
                    <a:pt x="1526" y="285"/>
                  </a:cubicBezTo>
                  <a:cubicBezTo>
                    <a:pt x="1526" y="316"/>
                    <a:pt x="1567" y="331"/>
                    <a:pt x="1618" y="331"/>
                  </a:cubicBezTo>
                  <a:cubicBezTo>
                    <a:pt x="1627" y="331"/>
                    <a:pt x="1637" y="329"/>
                    <a:pt x="1648" y="326"/>
                  </a:cubicBezTo>
                  <a:cubicBezTo>
                    <a:pt x="1648" y="336"/>
                    <a:pt x="1649" y="344"/>
                    <a:pt x="1649" y="351"/>
                  </a:cubicBezTo>
                  <a:cubicBezTo>
                    <a:pt x="1649" y="361"/>
                    <a:pt x="1650" y="368"/>
                    <a:pt x="1657" y="368"/>
                  </a:cubicBezTo>
                  <a:cubicBezTo>
                    <a:pt x="1667" y="368"/>
                    <a:pt x="1673" y="349"/>
                    <a:pt x="1674" y="320"/>
                  </a:cubicBezTo>
                  <a:cubicBezTo>
                    <a:pt x="1692" y="316"/>
                    <a:pt x="1711" y="311"/>
                    <a:pt x="1727" y="311"/>
                  </a:cubicBezTo>
                  <a:cubicBezTo>
                    <a:pt x="1734" y="311"/>
                    <a:pt x="1743" y="312"/>
                    <a:pt x="1753" y="314"/>
                  </a:cubicBezTo>
                  <a:lnTo>
                    <a:pt x="1753" y="314"/>
                  </a:lnTo>
                  <a:close/>
                  <a:moveTo>
                    <a:pt x="1638" y="308"/>
                  </a:moveTo>
                  <a:lnTo>
                    <a:pt x="1638" y="308"/>
                  </a:lnTo>
                  <a:cubicBezTo>
                    <a:pt x="1628" y="310"/>
                    <a:pt x="1622" y="310"/>
                    <a:pt x="1612" y="310"/>
                  </a:cubicBezTo>
                  <a:cubicBezTo>
                    <a:pt x="1589" y="310"/>
                    <a:pt x="1572" y="301"/>
                    <a:pt x="1572" y="288"/>
                  </a:cubicBezTo>
                  <a:cubicBezTo>
                    <a:pt x="1572" y="280"/>
                    <a:pt x="1576" y="275"/>
                    <a:pt x="1588" y="275"/>
                  </a:cubicBezTo>
                  <a:cubicBezTo>
                    <a:pt x="1606" y="275"/>
                    <a:pt x="1621" y="288"/>
                    <a:pt x="1638" y="308"/>
                  </a:cubicBezTo>
                  <a:lnTo>
                    <a:pt x="1638" y="308"/>
                  </a:lnTo>
                  <a:close/>
                  <a:moveTo>
                    <a:pt x="1168" y="212"/>
                  </a:moveTo>
                  <a:lnTo>
                    <a:pt x="1168" y="212"/>
                  </a:lnTo>
                  <a:cubicBezTo>
                    <a:pt x="1168" y="206"/>
                    <a:pt x="1171" y="203"/>
                    <a:pt x="1176" y="203"/>
                  </a:cubicBezTo>
                  <a:cubicBezTo>
                    <a:pt x="1183" y="203"/>
                    <a:pt x="1195" y="212"/>
                    <a:pt x="1201" y="228"/>
                  </a:cubicBezTo>
                  <a:cubicBezTo>
                    <a:pt x="1199" y="228"/>
                    <a:pt x="1195" y="229"/>
                    <a:pt x="1193" y="229"/>
                  </a:cubicBezTo>
                  <a:cubicBezTo>
                    <a:pt x="1179" y="229"/>
                    <a:pt x="1168" y="222"/>
                    <a:pt x="1168" y="212"/>
                  </a:cubicBezTo>
                  <a:lnTo>
                    <a:pt x="1168" y="212"/>
                  </a:lnTo>
                  <a:close/>
                  <a:moveTo>
                    <a:pt x="324" y="212"/>
                  </a:moveTo>
                  <a:lnTo>
                    <a:pt x="324" y="212"/>
                  </a:lnTo>
                  <a:cubicBezTo>
                    <a:pt x="324" y="206"/>
                    <a:pt x="328" y="203"/>
                    <a:pt x="332" y="203"/>
                  </a:cubicBezTo>
                  <a:cubicBezTo>
                    <a:pt x="339" y="203"/>
                    <a:pt x="351" y="212"/>
                    <a:pt x="357" y="228"/>
                  </a:cubicBezTo>
                  <a:cubicBezTo>
                    <a:pt x="336" y="228"/>
                    <a:pt x="324" y="223"/>
                    <a:pt x="324" y="212"/>
                  </a:cubicBezTo>
                  <a:lnTo>
                    <a:pt x="324" y="212"/>
                  </a:lnTo>
                  <a:close/>
                  <a:moveTo>
                    <a:pt x="487" y="127"/>
                  </a:moveTo>
                  <a:lnTo>
                    <a:pt x="487" y="127"/>
                  </a:lnTo>
                  <a:cubicBezTo>
                    <a:pt x="487" y="40"/>
                    <a:pt x="504" y="27"/>
                    <a:pt x="509" y="27"/>
                  </a:cubicBezTo>
                  <a:cubicBezTo>
                    <a:pt x="518" y="27"/>
                    <a:pt x="519" y="33"/>
                    <a:pt x="519" y="66"/>
                  </a:cubicBezTo>
                  <a:cubicBezTo>
                    <a:pt x="519" y="101"/>
                    <a:pt x="505" y="146"/>
                    <a:pt x="487" y="170"/>
                  </a:cubicBezTo>
                  <a:lnTo>
                    <a:pt x="487" y="127"/>
                  </a:lnTo>
                  <a:lnTo>
                    <a:pt x="487" y="127"/>
                  </a:lnTo>
                  <a:close/>
                  <a:moveTo>
                    <a:pt x="1079" y="213"/>
                  </a:moveTo>
                  <a:lnTo>
                    <a:pt x="1079" y="213"/>
                  </a:lnTo>
                  <a:cubicBezTo>
                    <a:pt x="1069" y="227"/>
                    <a:pt x="1061" y="247"/>
                    <a:pt x="1061" y="273"/>
                  </a:cubicBezTo>
                  <a:cubicBezTo>
                    <a:pt x="1061" y="322"/>
                    <a:pt x="1089" y="368"/>
                    <a:pt x="1143" y="368"/>
                  </a:cubicBezTo>
                  <a:cubicBezTo>
                    <a:pt x="1195" y="368"/>
                    <a:pt x="1233" y="327"/>
                    <a:pt x="1233" y="269"/>
                  </a:cubicBezTo>
                  <a:cubicBezTo>
                    <a:pt x="1233" y="252"/>
                    <a:pt x="1232" y="250"/>
                    <a:pt x="1231" y="243"/>
                  </a:cubicBezTo>
                  <a:cubicBezTo>
                    <a:pt x="1243" y="238"/>
                    <a:pt x="1253" y="230"/>
                    <a:pt x="1262" y="223"/>
                  </a:cubicBezTo>
                  <a:cubicBezTo>
                    <a:pt x="1269" y="218"/>
                    <a:pt x="1274" y="215"/>
                    <a:pt x="1278" y="215"/>
                  </a:cubicBezTo>
                  <a:cubicBezTo>
                    <a:pt x="1283" y="215"/>
                    <a:pt x="1285" y="219"/>
                    <a:pt x="1285" y="227"/>
                  </a:cubicBezTo>
                  <a:lnTo>
                    <a:pt x="1285" y="341"/>
                  </a:lnTo>
                  <a:cubicBezTo>
                    <a:pt x="1285" y="360"/>
                    <a:pt x="1291" y="368"/>
                    <a:pt x="1306" y="368"/>
                  </a:cubicBezTo>
                  <a:cubicBezTo>
                    <a:pt x="1319" y="368"/>
                    <a:pt x="1329" y="359"/>
                    <a:pt x="1334" y="348"/>
                  </a:cubicBezTo>
                  <a:cubicBezTo>
                    <a:pt x="1353" y="308"/>
                    <a:pt x="1381" y="254"/>
                    <a:pt x="1393" y="234"/>
                  </a:cubicBezTo>
                  <a:cubicBezTo>
                    <a:pt x="1396" y="229"/>
                    <a:pt x="1398" y="226"/>
                    <a:pt x="1400" y="226"/>
                  </a:cubicBezTo>
                  <a:cubicBezTo>
                    <a:pt x="1403" y="226"/>
                    <a:pt x="1404" y="227"/>
                    <a:pt x="1404" y="235"/>
                  </a:cubicBezTo>
                  <a:lnTo>
                    <a:pt x="1404" y="326"/>
                  </a:lnTo>
                  <a:cubicBezTo>
                    <a:pt x="1404" y="352"/>
                    <a:pt x="1416" y="368"/>
                    <a:pt x="1441" y="368"/>
                  </a:cubicBezTo>
                  <a:cubicBezTo>
                    <a:pt x="1468" y="368"/>
                    <a:pt x="1482" y="343"/>
                    <a:pt x="1505" y="303"/>
                  </a:cubicBezTo>
                  <a:cubicBezTo>
                    <a:pt x="1506" y="301"/>
                    <a:pt x="1506" y="299"/>
                    <a:pt x="1506" y="297"/>
                  </a:cubicBezTo>
                  <a:cubicBezTo>
                    <a:pt x="1506" y="292"/>
                    <a:pt x="1502" y="289"/>
                    <a:pt x="1497" y="289"/>
                  </a:cubicBezTo>
                  <a:cubicBezTo>
                    <a:pt x="1492" y="289"/>
                    <a:pt x="1489" y="294"/>
                    <a:pt x="1472" y="314"/>
                  </a:cubicBezTo>
                  <a:cubicBezTo>
                    <a:pt x="1468" y="317"/>
                    <a:pt x="1464" y="322"/>
                    <a:pt x="1458" y="322"/>
                  </a:cubicBezTo>
                  <a:cubicBezTo>
                    <a:pt x="1456" y="322"/>
                    <a:pt x="1454" y="320"/>
                    <a:pt x="1454" y="316"/>
                  </a:cubicBezTo>
                  <a:lnTo>
                    <a:pt x="1454" y="214"/>
                  </a:lnTo>
                  <a:cubicBezTo>
                    <a:pt x="1454" y="186"/>
                    <a:pt x="1442" y="175"/>
                    <a:pt x="1426" y="175"/>
                  </a:cubicBezTo>
                  <a:cubicBezTo>
                    <a:pt x="1413" y="175"/>
                    <a:pt x="1403" y="180"/>
                    <a:pt x="1392" y="197"/>
                  </a:cubicBezTo>
                  <a:cubicBezTo>
                    <a:pt x="1372" y="226"/>
                    <a:pt x="1352" y="267"/>
                    <a:pt x="1340" y="289"/>
                  </a:cubicBezTo>
                  <a:cubicBezTo>
                    <a:pt x="1339" y="291"/>
                    <a:pt x="1337" y="294"/>
                    <a:pt x="1336" y="294"/>
                  </a:cubicBezTo>
                  <a:cubicBezTo>
                    <a:pt x="1335" y="294"/>
                    <a:pt x="1335" y="292"/>
                    <a:pt x="1335" y="289"/>
                  </a:cubicBezTo>
                  <a:lnTo>
                    <a:pt x="1335" y="214"/>
                  </a:lnTo>
                  <a:cubicBezTo>
                    <a:pt x="1335" y="192"/>
                    <a:pt x="1329" y="175"/>
                    <a:pt x="1306" y="175"/>
                  </a:cubicBezTo>
                  <a:cubicBezTo>
                    <a:pt x="1282" y="175"/>
                    <a:pt x="1270" y="192"/>
                    <a:pt x="1252" y="204"/>
                  </a:cubicBezTo>
                  <a:cubicBezTo>
                    <a:pt x="1241" y="212"/>
                    <a:pt x="1231" y="218"/>
                    <a:pt x="1224" y="221"/>
                  </a:cubicBezTo>
                  <a:cubicBezTo>
                    <a:pt x="1212" y="192"/>
                    <a:pt x="1190" y="177"/>
                    <a:pt x="1173" y="177"/>
                  </a:cubicBezTo>
                  <a:cubicBezTo>
                    <a:pt x="1154" y="178"/>
                    <a:pt x="1141" y="188"/>
                    <a:pt x="1141" y="207"/>
                  </a:cubicBezTo>
                  <a:cubicBezTo>
                    <a:pt x="1141" y="227"/>
                    <a:pt x="1153" y="240"/>
                    <a:pt x="1169" y="246"/>
                  </a:cubicBezTo>
                  <a:cubicBezTo>
                    <a:pt x="1178" y="249"/>
                    <a:pt x="1186" y="250"/>
                    <a:pt x="1197" y="250"/>
                  </a:cubicBezTo>
                  <a:cubicBezTo>
                    <a:pt x="1201" y="250"/>
                    <a:pt x="1204" y="250"/>
                    <a:pt x="1206" y="249"/>
                  </a:cubicBezTo>
                  <a:cubicBezTo>
                    <a:pt x="1208" y="255"/>
                    <a:pt x="1207" y="263"/>
                    <a:pt x="1207" y="270"/>
                  </a:cubicBezTo>
                  <a:cubicBezTo>
                    <a:pt x="1207" y="298"/>
                    <a:pt x="1190" y="327"/>
                    <a:pt x="1159" y="327"/>
                  </a:cubicBezTo>
                  <a:cubicBezTo>
                    <a:pt x="1126" y="327"/>
                    <a:pt x="1107" y="295"/>
                    <a:pt x="1107" y="259"/>
                  </a:cubicBezTo>
                  <a:cubicBezTo>
                    <a:pt x="1107" y="232"/>
                    <a:pt x="1115" y="209"/>
                    <a:pt x="1128" y="194"/>
                  </a:cubicBezTo>
                  <a:cubicBezTo>
                    <a:pt x="1134" y="188"/>
                    <a:pt x="1138" y="184"/>
                    <a:pt x="1138" y="178"/>
                  </a:cubicBezTo>
                  <a:cubicBezTo>
                    <a:pt x="1138" y="176"/>
                    <a:pt x="1134" y="175"/>
                    <a:pt x="1130" y="175"/>
                  </a:cubicBezTo>
                  <a:cubicBezTo>
                    <a:pt x="1108" y="175"/>
                    <a:pt x="1084" y="185"/>
                    <a:pt x="1067" y="194"/>
                  </a:cubicBezTo>
                  <a:cubicBezTo>
                    <a:pt x="1045" y="206"/>
                    <a:pt x="1018" y="225"/>
                    <a:pt x="997" y="244"/>
                  </a:cubicBezTo>
                  <a:cubicBezTo>
                    <a:pt x="986" y="221"/>
                    <a:pt x="973" y="200"/>
                    <a:pt x="967" y="184"/>
                  </a:cubicBezTo>
                  <a:cubicBezTo>
                    <a:pt x="964" y="178"/>
                    <a:pt x="963" y="171"/>
                    <a:pt x="958" y="171"/>
                  </a:cubicBezTo>
                  <a:cubicBezTo>
                    <a:pt x="954" y="171"/>
                    <a:pt x="952" y="175"/>
                    <a:pt x="949" y="183"/>
                  </a:cubicBezTo>
                  <a:cubicBezTo>
                    <a:pt x="939" y="214"/>
                    <a:pt x="883" y="304"/>
                    <a:pt x="871" y="316"/>
                  </a:cubicBezTo>
                  <a:cubicBezTo>
                    <a:pt x="869" y="318"/>
                    <a:pt x="868" y="320"/>
                    <a:pt x="867" y="320"/>
                  </a:cubicBezTo>
                  <a:cubicBezTo>
                    <a:pt x="866" y="320"/>
                    <a:pt x="865" y="320"/>
                    <a:pt x="865" y="316"/>
                  </a:cubicBezTo>
                  <a:lnTo>
                    <a:pt x="865" y="214"/>
                  </a:lnTo>
                  <a:cubicBezTo>
                    <a:pt x="865" y="186"/>
                    <a:pt x="854" y="175"/>
                    <a:pt x="839" y="175"/>
                  </a:cubicBezTo>
                  <a:cubicBezTo>
                    <a:pt x="826" y="175"/>
                    <a:pt x="815" y="180"/>
                    <a:pt x="805" y="197"/>
                  </a:cubicBezTo>
                  <a:cubicBezTo>
                    <a:pt x="786" y="226"/>
                    <a:pt x="762" y="269"/>
                    <a:pt x="751" y="290"/>
                  </a:cubicBezTo>
                  <a:cubicBezTo>
                    <a:pt x="749" y="293"/>
                    <a:pt x="748" y="294"/>
                    <a:pt x="747" y="294"/>
                  </a:cubicBezTo>
                  <a:cubicBezTo>
                    <a:pt x="746" y="294"/>
                    <a:pt x="746" y="292"/>
                    <a:pt x="746" y="289"/>
                  </a:cubicBezTo>
                  <a:lnTo>
                    <a:pt x="746" y="214"/>
                  </a:lnTo>
                  <a:cubicBezTo>
                    <a:pt x="746" y="186"/>
                    <a:pt x="735" y="175"/>
                    <a:pt x="720" y="175"/>
                  </a:cubicBezTo>
                  <a:cubicBezTo>
                    <a:pt x="707" y="175"/>
                    <a:pt x="694" y="180"/>
                    <a:pt x="684" y="197"/>
                  </a:cubicBezTo>
                  <a:cubicBezTo>
                    <a:pt x="660" y="238"/>
                    <a:pt x="619" y="302"/>
                    <a:pt x="611" y="312"/>
                  </a:cubicBezTo>
                  <a:cubicBezTo>
                    <a:pt x="610" y="314"/>
                    <a:pt x="609" y="316"/>
                    <a:pt x="608" y="316"/>
                  </a:cubicBezTo>
                  <a:cubicBezTo>
                    <a:pt x="607" y="316"/>
                    <a:pt x="606" y="315"/>
                    <a:pt x="606" y="312"/>
                  </a:cubicBezTo>
                  <a:lnTo>
                    <a:pt x="606" y="214"/>
                  </a:lnTo>
                  <a:cubicBezTo>
                    <a:pt x="606" y="186"/>
                    <a:pt x="595" y="175"/>
                    <a:pt x="580" y="175"/>
                  </a:cubicBezTo>
                  <a:cubicBezTo>
                    <a:pt x="559" y="175"/>
                    <a:pt x="548" y="195"/>
                    <a:pt x="540" y="207"/>
                  </a:cubicBezTo>
                  <a:cubicBezTo>
                    <a:pt x="529" y="224"/>
                    <a:pt x="515" y="247"/>
                    <a:pt x="504" y="267"/>
                  </a:cubicBezTo>
                  <a:cubicBezTo>
                    <a:pt x="497" y="281"/>
                    <a:pt x="490" y="294"/>
                    <a:pt x="488" y="294"/>
                  </a:cubicBezTo>
                  <a:cubicBezTo>
                    <a:pt x="487" y="294"/>
                    <a:pt x="487" y="289"/>
                    <a:pt x="487" y="279"/>
                  </a:cubicBezTo>
                  <a:lnTo>
                    <a:pt x="487" y="201"/>
                  </a:lnTo>
                  <a:cubicBezTo>
                    <a:pt x="524" y="160"/>
                    <a:pt x="546" y="110"/>
                    <a:pt x="546" y="55"/>
                  </a:cubicBezTo>
                  <a:cubicBezTo>
                    <a:pt x="546" y="23"/>
                    <a:pt x="532" y="6"/>
                    <a:pt x="511" y="6"/>
                  </a:cubicBezTo>
                  <a:cubicBezTo>
                    <a:pt x="470" y="6"/>
                    <a:pt x="440" y="69"/>
                    <a:pt x="440" y="144"/>
                  </a:cubicBezTo>
                  <a:lnTo>
                    <a:pt x="440" y="204"/>
                  </a:lnTo>
                  <a:cubicBezTo>
                    <a:pt x="421" y="216"/>
                    <a:pt x="403" y="222"/>
                    <a:pt x="382" y="226"/>
                  </a:cubicBezTo>
                  <a:cubicBezTo>
                    <a:pt x="371" y="194"/>
                    <a:pt x="347" y="177"/>
                    <a:pt x="329" y="177"/>
                  </a:cubicBezTo>
                  <a:cubicBezTo>
                    <a:pt x="311" y="178"/>
                    <a:pt x="298" y="188"/>
                    <a:pt x="298" y="207"/>
                  </a:cubicBezTo>
                  <a:cubicBezTo>
                    <a:pt x="298" y="238"/>
                    <a:pt x="328" y="251"/>
                    <a:pt x="355" y="251"/>
                  </a:cubicBezTo>
                  <a:lnTo>
                    <a:pt x="362" y="251"/>
                  </a:lnTo>
                  <a:cubicBezTo>
                    <a:pt x="364" y="257"/>
                    <a:pt x="364" y="263"/>
                    <a:pt x="364" y="270"/>
                  </a:cubicBezTo>
                  <a:cubicBezTo>
                    <a:pt x="364" y="298"/>
                    <a:pt x="347" y="327"/>
                    <a:pt x="315" y="327"/>
                  </a:cubicBezTo>
                  <a:cubicBezTo>
                    <a:pt x="283" y="327"/>
                    <a:pt x="263" y="295"/>
                    <a:pt x="263" y="259"/>
                  </a:cubicBezTo>
                  <a:cubicBezTo>
                    <a:pt x="263" y="232"/>
                    <a:pt x="271" y="209"/>
                    <a:pt x="285" y="194"/>
                  </a:cubicBezTo>
                  <a:cubicBezTo>
                    <a:pt x="290" y="188"/>
                    <a:pt x="294" y="183"/>
                    <a:pt x="294" y="178"/>
                  </a:cubicBezTo>
                  <a:cubicBezTo>
                    <a:pt x="294" y="176"/>
                    <a:pt x="290" y="175"/>
                    <a:pt x="286" y="175"/>
                  </a:cubicBezTo>
                  <a:cubicBezTo>
                    <a:pt x="265" y="175"/>
                    <a:pt x="215" y="205"/>
                    <a:pt x="157" y="263"/>
                  </a:cubicBezTo>
                  <a:cubicBezTo>
                    <a:pt x="152" y="217"/>
                    <a:pt x="146" y="171"/>
                    <a:pt x="146" y="127"/>
                  </a:cubicBezTo>
                  <a:cubicBezTo>
                    <a:pt x="146" y="77"/>
                    <a:pt x="156" y="35"/>
                    <a:pt x="158" y="23"/>
                  </a:cubicBezTo>
                  <a:cubicBezTo>
                    <a:pt x="159" y="16"/>
                    <a:pt x="160" y="11"/>
                    <a:pt x="160" y="7"/>
                  </a:cubicBezTo>
                  <a:cubicBezTo>
                    <a:pt x="160" y="3"/>
                    <a:pt x="158" y="0"/>
                    <a:pt x="151" y="0"/>
                  </a:cubicBezTo>
                  <a:cubicBezTo>
                    <a:pt x="104" y="0"/>
                    <a:pt x="0" y="75"/>
                    <a:pt x="0" y="188"/>
                  </a:cubicBezTo>
                  <a:cubicBezTo>
                    <a:pt x="0" y="268"/>
                    <a:pt x="29" y="306"/>
                    <a:pt x="80" y="356"/>
                  </a:cubicBezTo>
                  <a:cubicBezTo>
                    <a:pt x="49" y="406"/>
                    <a:pt x="25" y="465"/>
                    <a:pt x="25" y="517"/>
                  </a:cubicBezTo>
                  <a:cubicBezTo>
                    <a:pt x="25" y="555"/>
                    <a:pt x="34" y="584"/>
                    <a:pt x="61" y="584"/>
                  </a:cubicBezTo>
                  <a:cubicBezTo>
                    <a:pt x="120" y="584"/>
                    <a:pt x="163" y="462"/>
                    <a:pt x="163" y="372"/>
                  </a:cubicBezTo>
                  <a:cubicBezTo>
                    <a:pt x="163" y="346"/>
                    <a:pt x="162" y="319"/>
                    <a:pt x="160" y="292"/>
                  </a:cubicBezTo>
                  <a:cubicBezTo>
                    <a:pt x="182" y="269"/>
                    <a:pt x="215" y="238"/>
                    <a:pt x="223" y="235"/>
                  </a:cubicBezTo>
                  <a:cubicBezTo>
                    <a:pt x="220" y="248"/>
                    <a:pt x="217" y="261"/>
                    <a:pt x="217" y="273"/>
                  </a:cubicBezTo>
                  <a:cubicBezTo>
                    <a:pt x="217" y="322"/>
                    <a:pt x="245" y="368"/>
                    <a:pt x="299" y="368"/>
                  </a:cubicBezTo>
                  <a:cubicBezTo>
                    <a:pt x="350" y="368"/>
                    <a:pt x="389" y="327"/>
                    <a:pt x="389" y="269"/>
                  </a:cubicBezTo>
                  <a:cubicBezTo>
                    <a:pt x="389" y="262"/>
                    <a:pt x="388" y="255"/>
                    <a:pt x="388" y="248"/>
                  </a:cubicBezTo>
                  <a:cubicBezTo>
                    <a:pt x="406" y="245"/>
                    <a:pt x="423" y="240"/>
                    <a:pt x="440" y="230"/>
                  </a:cubicBezTo>
                  <a:lnTo>
                    <a:pt x="440" y="347"/>
                  </a:lnTo>
                  <a:cubicBezTo>
                    <a:pt x="440" y="363"/>
                    <a:pt x="450" y="368"/>
                    <a:pt x="460" y="368"/>
                  </a:cubicBezTo>
                  <a:cubicBezTo>
                    <a:pt x="473" y="368"/>
                    <a:pt x="480" y="359"/>
                    <a:pt x="490" y="338"/>
                  </a:cubicBezTo>
                  <a:cubicBezTo>
                    <a:pt x="499" y="320"/>
                    <a:pt x="521" y="280"/>
                    <a:pt x="534" y="256"/>
                  </a:cubicBezTo>
                  <a:cubicBezTo>
                    <a:pt x="544" y="237"/>
                    <a:pt x="550" y="225"/>
                    <a:pt x="555" y="225"/>
                  </a:cubicBezTo>
                  <a:cubicBezTo>
                    <a:pt x="556" y="225"/>
                    <a:pt x="558" y="228"/>
                    <a:pt x="558" y="235"/>
                  </a:cubicBezTo>
                  <a:lnTo>
                    <a:pt x="558" y="335"/>
                  </a:lnTo>
                  <a:cubicBezTo>
                    <a:pt x="558" y="362"/>
                    <a:pt x="571" y="368"/>
                    <a:pt x="584" y="368"/>
                  </a:cubicBezTo>
                  <a:cubicBezTo>
                    <a:pt x="595" y="368"/>
                    <a:pt x="603" y="362"/>
                    <a:pt x="610" y="352"/>
                  </a:cubicBezTo>
                  <a:cubicBezTo>
                    <a:pt x="641" y="308"/>
                    <a:pt x="673" y="257"/>
                    <a:pt x="686" y="235"/>
                  </a:cubicBezTo>
                  <a:cubicBezTo>
                    <a:pt x="688" y="231"/>
                    <a:pt x="691" y="228"/>
                    <a:pt x="693" y="228"/>
                  </a:cubicBezTo>
                  <a:cubicBezTo>
                    <a:pt x="696" y="228"/>
                    <a:pt x="697" y="229"/>
                    <a:pt x="697" y="236"/>
                  </a:cubicBezTo>
                  <a:lnTo>
                    <a:pt x="697" y="341"/>
                  </a:lnTo>
                  <a:cubicBezTo>
                    <a:pt x="697" y="360"/>
                    <a:pt x="703" y="368"/>
                    <a:pt x="717" y="368"/>
                  </a:cubicBezTo>
                  <a:cubicBezTo>
                    <a:pt x="731" y="368"/>
                    <a:pt x="739" y="359"/>
                    <a:pt x="745" y="348"/>
                  </a:cubicBezTo>
                  <a:cubicBezTo>
                    <a:pt x="764" y="308"/>
                    <a:pt x="793" y="255"/>
                    <a:pt x="805" y="234"/>
                  </a:cubicBezTo>
                  <a:cubicBezTo>
                    <a:pt x="807" y="229"/>
                    <a:pt x="811" y="225"/>
                    <a:pt x="812" y="225"/>
                  </a:cubicBezTo>
                  <a:cubicBezTo>
                    <a:pt x="815" y="225"/>
                    <a:pt x="815" y="228"/>
                    <a:pt x="815" y="235"/>
                  </a:cubicBezTo>
                  <a:lnTo>
                    <a:pt x="815" y="335"/>
                  </a:lnTo>
                  <a:cubicBezTo>
                    <a:pt x="815" y="362"/>
                    <a:pt x="829" y="368"/>
                    <a:pt x="842" y="368"/>
                  </a:cubicBezTo>
                  <a:cubicBezTo>
                    <a:pt x="858" y="368"/>
                    <a:pt x="868" y="357"/>
                    <a:pt x="879" y="344"/>
                  </a:cubicBezTo>
                  <a:cubicBezTo>
                    <a:pt x="898" y="318"/>
                    <a:pt x="926" y="273"/>
                    <a:pt x="943" y="245"/>
                  </a:cubicBezTo>
                  <a:cubicBezTo>
                    <a:pt x="949" y="254"/>
                    <a:pt x="955" y="265"/>
                    <a:pt x="961" y="277"/>
                  </a:cubicBezTo>
                  <a:cubicBezTo>
                    <a:pt x="947" y="294"/>
                    <a:pt x="933" y="314"/>
                    <a:pt x="933" y="334"/>
                  </a:cubicBezTo>
                  <a:cubicBezTo>
                    <a:pt x="933" y="355"/>
                    <a:pt x="948" y="368"/>
                    <a:pt x="963" y="368"/>
                  </a:cubicBezTo>
                  <a:cubicBezTo>
                    <a:pt x="990" y="368"/>
                    <a:pt x="1015" y="343"/>
                    <a:pt x="1015" y="307"/>
                  </a:cubicBezTo>
                  <a:cubicBezTo>
                    <a:pt x="1015" y="293"/>
                    <a:pt x="1011" y="279"/>
                    <a:pt x="1005" y="265"/>
                  </a:cubicBezTo>
                  <a:cubicBezTo>
                    <a:pt x="1029" y="241"/>
                    <a:pt x="1058" y="219"/>
                    <a:pt x="1079" y="213"/>
                  </a:cubicBezTo>
                  <a:lnTo>
                    <a:pt x="1079" y="213"/>
                  </a:lnTo>
                  <a:close/>
                  <a:moveTo>
                    <a:pt x="118" y="341"/>
                  </a:moveTo>
                  <a:lnTo>
                    <a:pt x="118" y="341"/>
                  </a:lnTo>
                  <a:cubicBezTo>
                    <a:pt x="123" y="371"/>
                    <a:pt x="127" y="402"/>
                    <a:pt x="127" y="426"/>
                  </a:cubicBezTo>
                  <a:cubicBezTo>
                    <a:pt x="127" y="482"/>
                    <a:pt x="108" y="547"/>
                    <a:pt x="76" y="546"/>
                  </a:cubicBezTo>
                  <a:cubicBezTo>
                    <a:pt x="64" y="546"/>
                    <a:pt x="53" y="534"/>
                    <a:pt x="53" y="513"/>
                  </a:cubicBezTo>
                  <a:cubicBezTo>
                    <a:pt x="52" y="443"/>
                    <a:pt x="85" y="383"/>
                    <a:pt x="118" y="341"/>
                  </a:cubicBezTo>
                  <a:lnTo>
                    <a:pt x="118" y="341"/>
                  </a:lnTo>
                  <a:close/>
                  <a:moveTo>
                    <a:pt x="970" y="301"/>
                  </a:moveTo>
                  <a:lnTo>
                    <a:pt x="970" y="301"/>
                  </a:lnTo>
                  <a:cubicBezTo>
                    <a:pt x="973" y="311"/>
                    <a:pt x="975" y="319"/>
                    <a:pt x="975" y="327"/>
                  </a:cubicBezTo>
                  <a:cubicBezTo>
                    <a:pt x="975" y="336"/>
                    <a:pt x="972" y="346"/>
                    <a:pt x="965" y="346"/>
                  </a:cubicBezTo>
                  <a:cubicBezTo>
                    <a:pt x="961" y="346"/>
                    <a:pt x="956" y="341"/>
                    <a:pt x="956" y="332"/>
                  </a:cubicBezTo>
                  <a:cubicBezTo>
                    <a:pt x="956" y="324"/>
                    <a:pt x="963" y="310"/>
                    <a:pt x="970" y="301"/>
                  </a:cubicBezTo>
                  <a:lnTo>
                    <a:pt x="970" y="301"/>
                  </a:lnTo>
                  <a:close/>
                  <a:moveTo>
                    <a:pt x="139" y="22"/>
                  </a:moveTo>
                  <a:lnTo>
                    <a:pt x="139" y="22"/>
                  </a:lnTo>
                  <a:cubicBezTo>
                    <a:pt x="139" y="26"/>
                    <a:pt x="131" y="42"/>
                    <a:pt x="120" y="71"/>
                  </a:cubicBezTo>
                  <a:cubicBezTo>
                    <a:pt x="109" y="102"/>
                    <a:pt x="99" y="145"/>
                    <a:pt x="99" y="197"/>
                  </a:cubicBezTo>
                  <a:cubicBezTo>
                    <a:pt x="99" y="228"/>
                    <a:pt x="106" y="269"/>
                    <a:pt x="113" y="310"/>
                  </a:cubicBezTo>
                  <a:lnTo>
                    <a:pt x="94" y="335"/>
                  </a:lnTo>
                  <a:cubicBezTo>
                    <a:pt x="64" y="299"/>
                    <a:pt x="46" y="258"/>
                    <a:pt x="46" y="188"/>
                  </a:cubicBezTo>
                  <a:cubicBezTo>
                    <a:pt x="46" y="89"/>
                    <a:pt x="106" y="20"/>
                    <a:pt x="137" y="20"/>
                  </a:cubicBezTo>
                  <a:cubicBezTo>
                    <a:pt x="139" y="20"/>
                    <a:pt x="139" y="21"/>
                    <a:pt x="139" y="22"/>
                  </a:cubicBezTo>
                  <a:close/>
                </a:path>
              </a:pathLst>
            </a:custGeom>
            <a:solidFill>
              <a:srgbClr val="EC1C2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sp>
        <p:nvSpPr>
          <p:cNvPr id="23" name="Freeform 22"/>
          <p:cNvSpPr>
            <a:spLocks/>
          </p:cNvSpPr>
          <p:nvPr userDrawn="1"/>
        </p:nvSpPr>
        <p:spPr bwMode="auto">
          <a:xfrm>
            <a:off x="4876802" y="5836245"/>
            <a:ext cx="5447271" cy="1045633"/>
          </a:xfrm>
          <a:custGeom>
            <a:avLst/>
            <a:gdLst>
              <a:gd name="connsiteX0" fmla="*/ 1543994 w 4085453"/>
              <a:gd name="connsiteY0" fmla="*/ 0 h 784225"/>
              <a:gd name="connsiteX1" fmla="*/ 4083688 w 4085453"/>
              <a:gd name="connsiteY1" fmla="*/ 783468 h 784225"/>
              <a:gd name="connsiteX2" fmla="*/ 4085453 w 4085453"/>
              <a:gd name="connsiteY2" fmla="*/ 784225 h 784225"/>
              <a:gd name="connsiteX3" fmla="*/ 2975528 w 4085453"/>
              <a:gd name="connsiteY3" fmla="*/ 784225 h 784225"/>
              <a:gd name="connsiteX4" fmla="*/ 2752683 w 4085453"/>
              <a:gd name="connsiteY4" fmla="*/ 732482 h 784225"/>
              <a:gd name="connsiteX5" fmla="*/ 0 w 4085453"/>
              <a:gd name="connsiteY5" fmla="*/ 579981 h 784225"/>
              <a:gd name="connsiteX6" fmla="*/ 1543994 w 4085453"/>
              <a:gd name="connsiteY6" fmla="*/ 0 h 784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85453" h="784225">
                <a:moveTo>
                  <a:pt x="1543994" y="0"/>
                </a:moveTo>
                <a:cubicBezTo>
                  <a:pt x="2377399" y="92270"/>
                  <a:pt x="3549650" y="556913"/>
                  <a:pt x="4083688" y="783468"/>
                </a:cubicBezTo>
                <a:lnTo>
                  <a:pt x="4085453" y="784225"/>
                </a:lnTo>
                <a:lnTo>
                  <a:pt x="2975528" y="784225"/>
                </a:lnTo>
                <a:lnTo>
                  <a:pt x="2752683" y="732482"/>
                </a:lnTo>
                <a:cubicBezTo>
                  <a:pt x="1186598" y="400568"/>
                  <a:pt x="0" y="579981"/>
                  <a:pt x="0" y="579981"/>
                </a:cubicBezTo>
                <a:cubicBezTo>
                  <a:pt x="614089" y="322212"/>
                  <a:pt x="1543994" y="0"/>
                  <a:pt x="1543994" y="0"/>
                </a:cubicBezTo>
                <a:close/>
              </a:path>
            </a:pathLst>
          </a:custGeom>
          <a:solidFill>
            <a:srgbClr val="5261AC">
              <a:alpha val="4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19801161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133582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D85FFF-9F26-4CCE-AD83-A4A737C6B0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1E97ED-CFE7-4EC8-AC8B-7CD08378B9E7}"/>
              </a:ext>
            </a:extLst>
          </p:cNvPr>
          <p:cNvSpPr/>
          <p:nvPr userDrawn="1"/>
        </p:nvSpPr>
        <p:spPr>
          <a:xfrm>
            <a:off x="0" y="3352801"/>
            <a:ext cx="12192000" cy="14477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/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 lang="x-none"/>
            </a:pPr>
            <a:endParaRPr lang="x-none" sz="1088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526085" y="3768924"/>
            <a:ext cx="8478152" cy="615553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>
              <a:defRPr lang="x-none" sz="40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26085" y="5262804"/>
            <a:ext cx="8478152" cy="2872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1867" cap="none" noProof="0" dirty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26085" y="6186760"/>
            <a:ext cx="7283568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867" baseline="0" noProof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176E8AE-720D-4DD2-9238-1E1BB46E01D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7452" y="5736108"/>
            <a:ext cx="3492448" cy="1104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21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667838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FA910F-3277-4B3E-A9EE-D900AE3E1F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619690" y="540024"/>
            <a:ext cx="10990479" cy="41036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22139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FB6407-2D4D-43D7-9273-156A27D977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C2A80F-5455-4047-92FA-4B0C584BE0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74880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8041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164000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5614719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42B5EA-8D5D-4279-829C-45AE7418D5A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24"/>
          </a:p>
        </p:txBody>
      </p:sp>
    </p:spTree>
    <p:extLst>
      <p:ext uri="{BB962C8B-B14F-4D97-AF65-F5344CB8AC3E}">
        <p14:creationId xmlns:p14="http://schemas.microsoft.com/office/powerpoint/2010/main" val="42646580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 content">
  <p:cSld name="Basic content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Google Shape;101;p20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7881773" y="0"/>
            <a:ext cx="4310227" cy="2313709"/>
          </a:xfrm>
          <a:prstGeom prst="rect">
            <a:avLst/>
          </a:prstGeom>
          <a:noFill/>
          <a:ln>
            <a:noFill/>
          </a:ln>
        </p:spPr>
      </p:pic>
      <p:sp>
        <p:nvSpPr>
          <p:cNvPr id="102" name="Google Shape;102;p20"/>
          <p:cNvSpPr/>
          <p:nvPr/>
        </p:nvSpPr>
        <p:spPr>
          <a:xfrm>
            <a:off x="7876800" y="0"/>
            <a:ext cx="4315200" cy="2318400"/>
          </a:xfrm>
          <a:prstGeom prst="rect">
            <a:avLst/>
          </a:prstGeom>
          <a:gradFill>
            <a:gsLst>
              <a:gs pos="0">
                <a:schemeClr val="lt1"/>
              </a:gs>
              <a:gs pos="76000">
                <a:srgbClr val="FFFFFF">
                  <a:alpha val="64705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" name="Google Shape;103;p20"/>
          <p:cNvSpPr txBox="1">
            <a:spLocks noGrp="1"/>
          </p:cNvSpPr>
          <p:nvPr>
            <p:ph type="sldNum" idx="12"/>
          </p:nvPr>
        </p:nvSpPr>
        <p:spPr>
          <a:xfrm>
            <a:off x="11010555" y="6365828"/>
            <a:ext cx="60043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104" name="Google Shape;104;p20"/>
          <p:cNvSpPr txBox="1">
            <a:spLocks noGrp="1"/>
          </p:cNvSpPr>
          <p:nvPr>
            <p:ph type="body" idx="1"/>
          </p:nvPr>
        </p:nvSpPr>
        <p:spPr>
          <a:xfrm>
            <a:off x="554568" y="1706880"/>
            <a:ext cx="11056424" cy="4197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5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2133"/>
              <a:buFont typeface="Noto Sans Symbols"/>
              <a:buNone/>
              <a:defRPr sz="2133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355600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47154" algn="l" rtl="0">
              <a:lnSpc>
                <a:spcPct val="150000"/>
              </a:lnSpc>
              <a:spcBef>
                <a:spcPts val="373"/>
              </a:spcBef>
              <a:spcAft>
                <a:spcPts val="0"/>
              </a:spcAft>
              <a:buClr>
                <a:schemeClr val="accent2"/>
              </a:buClr>
              <a:buSzPts val="1867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338645" algn="l" rtl="0">
              <a:lnSpc>
                <a:spcPct val="150000"/>
              </a:lnSpc>
              <a:spcBef>
                <a:spcPts val="347"/>
              </a:spcBef>
              <a:spcAft>
                <a:spcPts val="0"/>
              </a:spcAft>
              <a:buClr>
                <a:schemeClr val="accent2"/>
              </a:buClr>
              <a:buSzPts val="1733"/>
              <a:buFont typeface="Arial"/>
              <a:buChar char="•"/>
              <a:defRPr sz="1733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30200" algn="l" rtl="0">
              <a:lnSpc>
                <a:spcPct val="150000"/>
              </a:lnSpc>
              <a:spcBef>
                <a:spcPts val="32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" name="Google Shape;105;p20"/>
          <p:cNvSpPr txBox="1">
            <a:spLocks noGrp="1"/>
          </p:cNvSpPr>
          <p:nvPr>
            <p:ph type="title"/>
          </p:nvPr>
        </p:nvSpPr>
        <p:spPr>
          <a:xfrm>
            <a:off x="554196" y="151638"/>
            <a:ext cx="11056800" cy="849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933"/>
              <a:buFont typeface="Verdana"/>
              <a:buNone/>
              <a:defRPr sz="2933" b="1" i="0" u="none" strike="noStrike" cap="none">
                <a:solidFill>
                  <a:schemeClr val="accent2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06" name="Google Shape;106;p20"/>
          <p:cNvSpPr txBox="1">
            <a:spLocks noGrp="1"/>
          </p:cNvSpPr>
          <p:nvPr>
            <p:ph type="body" idx="2"/>
          </p:nvPr>
        </p:nvSpPr>
        <p:spPr>
          <a:xfrm>
            <a:off x="554567" y="1109479"/>
            <a:ext cx="11055351" cy="488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l" rtl="0">
              <a:spcBef>
                <a:spcPts val="427"/>
              </a:spcBef>
              <a:spcAft>
                <a:spcPts val="0"/>
              </a:spcAft>
              <a:buClr>
                <a:schemeClr val="accent1"/>
              </a:buClr>
              <a:buSzPts val="2133"/>
              <a:buFont typeface="Noto Sans Symbols"/>
              <a:buNone/>
              <a:defRPr sz="2133" b="1" i="0" u="none" strike="noStrike" cap="none">
                <a:solidFill>
                  <a:schemeClr val="accent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601154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5867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601154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5867"/>
              <a:buFont typeface="Noto Sans Symbols"/>
              <a:buChar char="▪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601154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5867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9795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667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7" name="Google Shape;107;p20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507971" y="6280906"/>
            <a:ext cx="1001500" cy="5828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190908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mall image mas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010555" y="6365828"/>
            <a:ext cx="600437" cy="365125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81BF0B4E-CE60-AB48-9D7E-4434414A7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5858C469-6A21-2B42-8DA3-5016CF6ED2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94003" y="-6417"/>
            <a:ext cx="1897997" cy="6220800"/>
          </a:xfrm>
          <a:prstGeom prst="rect">
            <a:avLst/>
          </a:prstGeom>
        </p:spPr>
        <p:txBody>
          <a:bodyPr anchor="ctr" anchorCtr="0"/>
          <a:lstStyle>
            <a:lvl1pPr algn="ctr">
              <a:defRPr sz="2933"/>
            </a:lvl1pPr>
          </a:lstStyle>
          <a:p>
            <a:endParaRPr lang="en-US"/>
          </a:p>
        </p:txBody>
      </p:sp>
      <p:sp>
        <p:nvSpPr>
          <p:cNvPr id="13" name="Title 11">
            <a:extLst>
              <a:ext uri="{FF2B5EF4-FFF2-40B4-BE49-F238E27FC236}">
                <a16:creationId xmlns:a16="http://schemas.microsoft.com/office/drawing/2014/main" id="{841309E4-4F63-6D45-B298-576DDAAF2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198" y="151638"/>
            <a:ext cx="9476388" cy="849389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2933" b="1" kern="1200" dirty="0" smtClean="0">
                <a:solidFill>
                  <a:schemeClr val="accent2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8B6BE58-8878-AC40-903A-5F4FCA4A7C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4043" y="1109479"/>
            <a:ext cx="9475839" cy="488949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2667" b="0" smtClean="0">
                <a:solidFill>
                  <a:schemeClr val="accent1"/>
                </a:solidFill>
                <a:latin typeface="Verdana"/>
                <a:ea typeface="+mj-ea"/>
                <a:cs typeface="Verdana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en-US"/>
              <a:t>Click to edit sub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46CA696-7654-D545-91FA-F70447686B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4044" y="1706880"/>
            <a:ext cx="9476913" cy="4197637"/>
          </a:xfrm>
          <a:prstGeom prst="rect">
            <a:avLst/>
          </a:prstGeom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 sz="2133">
                <a:solidFill>
                  <a:schemeClr val="tx1"/>
                </a:solidFill>
              </a:defRPr>
            </a:lvl1pPr>
            <a:lvl2pPr marL="711182" indent="-237061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tx1"/>
                </a:solidFill>
              </a:defRPr>
            </a:lvl2pPr>
            <a:lvl3pPr marL="948243" indent="-237061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</a:defRPr>
            </a:lvl3pPr>
            <a:lvl4pPr marL="1185304" marR="0" indent="-237061" algn="l" defTabSz="609585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733">
                <a:solidFill>
                  <a:schemeClr val="tx1"/>
                </a:solidFill>
              </a:defRPr>
            </a:lvl4pPr>
            <a:lvl5pPr marL="1422364" indent="-237061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2483449-66A0-5340-80DA-539B06540C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6417"/>
            <a:ext cx="12192000" cy="6217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4383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1_Title slide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1" name="Google Shape;211;p40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0" y="-1"/>
            <a:ext cx="12192000" cy="6221213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p40"/>
          <p:cNvSpPr txBox="1">
            <a:spLocks noGrp="1"/>
          </p:cNvSpPr>
          <p:nvPr>
            <p:ph type="sldNum" idx="12"/>
          </p:nvPr>
        </p:nvSpPr>
        <p:spPr>
          <a:xfrm>
            <a:off x="11010555" y="6365828"/>
            <a:ext cx="6004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BFBFBF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213" name="Google Shape;213;p40"/>
          <p:cNvSpPr txBox="1">
            <a:spLocks noGrp="1"/>
          </p:cNvSpPr>
          <p:nvPr>
            <p:ph type="title"/>
          </p:nvPr>
        </p:nvSpPr>
        <p:spPr>
          <a:xfrm>
            <a:off x="4728645" y="1988955"/>
            <a:ext cx="6882400" cy="211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Clr>
                <a:srgbClr val="00467F"/>
              </a:buClr>
              <a:buSzPts val="4400"/>
              <a:buFont typeface="Verdana"/>
              <a:buNone/>
              <a:defRPr sz="5867" b="0" i="0" u="none" strike="noStrike" cap="none">
                <a:solidFill>
                  <a:srgbClr val="00467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214" name="Google Shape;214;p40"/>
          <p:cNvSpPr txBox="1">
            <a:spLocks noGrp="1"/>
          </p:cNvSpPr>
          <p:nvPr>
            <p:ph type="dt" idx="10"/>
          </p:nvPr>
        </p:nvSpPr>
        <p:spPr>
          <a:xfrm>
            <a:off x="8766192" y="5445381"/>
            <a:ext cx="2844800" cy="3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rgbClr val="969696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5" name="Google Shape;215;p40"/>
          <p:cNvSpPr txBox="1">
            <a:spLocks noGrp="1"/>
          </p:cNvSpPr>
          <p:nvPr>
            <p:ph type="body" idx="1"/>
          </p:nvPr>
        </p:nvSpPr>
        <p:spPr>
          <a:xfrm>
            <a:off x="4734500" y="4676699"/>
            <a:ext cx="6876400" cy="5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r" rtl="0">
              <a:spcBef>
                <a:spcPts val="347"/>
              </a:spcBef>
              <a:spcAft>
                <a:spcPts val="0"/>
              </a:spcAft>
              <a:buClr>
                <a:srgbClr val="282828"/>
              </a:buClr>
              <a:buSzPts val="1300"/>
              <a:buFont typeface="Noto Sans Symbols"/>
              <a:buNone/>
              <a:defRPr sz="1733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1219170" marR="0" lvl="1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828754" marR="0" lvl="2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Noto Sans Symbols"/>
              <a:buChar char="▪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2438339" marR="0" lvl="3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3047924" marR="0" lvl="4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6" name="Google Shape;216;p40"/>
          <p:cNvSpPr txBox="1">
            <a:spLocks noGrp="1"/>
          </p:cNvSpPr>
          <p:nvPr>
            <p:ph type="body" idx="2"/>
          </p:nvPr>
        </p:nvSpPr>
        <p:spPr>
          <a:xfrm>
            <a:off x="4728645" y="4111368"/>
            <a:ext cx="68824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r" rtl="0">
              <a:spcBef>
                <a:spcPts val="480"/>
              </a:spcBef>
              <a:spcAft>
                <a:spcPts val="0"/>
              </a:spcAft>
              <a:buClr>
                <a:srgbClr val="00AAE7"/>
              </a:buClr>
              <a:buSzPts val="1800"/>
              <a:buFont typeface="Noto Sans Symbols"/>
              <a:buNone/>
              <a:defRPr sz="2400" b="1" i="0" u="none" strike="noStrike" cap="none">
                <a:solidFill>
                  <a:srgbClr val="00AAE7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1219170" marR="0" lvl="1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828754" marR="0" lvl="2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Noto Sans Symbols"/>
              <a:buChar char="▪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2438339" marR="0" lvl="3" indent="-677316" algn="l" rtl="0">
              <a:spcBef>
                <a:spcPts val="1173"/>
              </a:spcBef>
              <a:spcAft>
                <a:spcPts val="0"/>
              </a:spcAft>
              <a:buClr>
                <a:srgbClr val="282828"/>
              </a:buClr>
              <a:buSzPts val="4400"/>
              <a:buFont typeface="Arial"/>
              <a:buChar char="–"/>
              <a:defRPr sz="5867" b="0" i="0" u="none" strike="noStrike" cap="none">
                <a:solidFill>
                  <a:srgbClr val="282828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3047924" marR="0" lvl="4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17" name="Google Shape;217;p40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8420109" y="324207"/>
            <a:ext cx="3190884" cy="18570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46762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9251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66186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95553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3141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5984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/>
          <p:cNvSpPr>
            <a:spLocks/>
          </p:cNvSpPr>
          <p:nvPr userDrawn="1"/>
        </p:nvSpPr>
        <p:spPr bwMode="auto">
          <a:xfrm>
            <a:off x="6690228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>
            <a:off x="6791325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bg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171971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4994336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3419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414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5221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0842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1340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922056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 sz="2600" baseline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defRPr>
            </a:lvl1pPr>
            <a:lvl2pPr>
              <a:defRPr sz="2200">
                <a:solidFill>
                  <a:schemeClr val="tx1">
                    <a:lumMod val="75000"/>
                  </a:schemeClr>
                </a:solidFill>
                <a:latin typeface="+mn-lt"/>
              </a:defRPr>
            </a:lvl2pPr>
            <a:lvl3pPr>
              <a:defRPr sz="2133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89172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31800" y="150848"/>
            <a:ext cx="11336867" cy="469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cap="none" baseline="0"/>
            </a:lvl1pPr>
          </a:lstStyle>
          <a:p>
            <a:r>
              <a:rPr lang="en-GB" noProof="0" dirty="0"/>
              <a:t>Click to edit master title slid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31800" y="959281"/>
            <a:ext cx="11331624" cy="535336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buClr>
                <a:srgbClr val="CC0033"/>
              </a:buClr>
              <a:defRPr/>
            </a:lvl1pPr>
            <a:lvl2pPr>
              <a:buClr>
                <a:srgbClr val="CC0033"/>
              </a:buClr>
              <a:defRPr/>
            </a:lvl2pPr>
            <a:lvl3pPr>
              <a:buClr>
                <a:srgbClr val="CC0033"/>
              </a:buClr>
              <a:defRPr/>
            </a:lvl3pPr>
            <a:lvl4pPr>
              <a:buClr>
                <a:srgbClr val="CC0033"/>
              </a:buClr>
              <a:defRPr/>
            </a:lvl4pPr>
            <a:lvl5pPr>
              <a:buClr>
                <a:srgbClr val="CC0033"/>
              </a:buClr>
              <a:defRPr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1" y="6326504"/>
            <a:ext cx="11358033" cy="153888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</a:lstStyle>
          <a:p>
            <a:pPr lvl="0"/>
            <a:r>
              <a:rPr lang="en-GB" noProof="0" dirty="0"/>
              <a:t>References.</a:t>
            </a:r>
          </a:p>
        </p:txBody>
      </p:sp>
    </p:spTree>
    <p:extLst>
      <p:ext uri="{BB962C8B-B14F-4D97-AF65-F5344CB8AC3E}">
        <p14:creationId xmlns:p14="http://schemas.microsoft.com/office/powerpoint/2010/main" val="25109168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583680"/>
            <a:ext cx="7164000" cy="14416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789884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164000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7864204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3161388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3538646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6359724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202447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1652522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4504531" y="1462076"/>
            <a:ext cx="3173411" cy="1141425"/>
            <a:chOff x="4214813" y="817826"/>
            <a:chExt cx="4143637" cy="1490400"/>
          </a:xfr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grpSpPr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5597525" y="817826"/>
              <a:ext cx="2058987" cy="695326"/>
            </a:xfrm>
            <a:custGeom>
              <a:avLst/>
              <a:gdLst>
                <a:gd name="T0" fmla="*/ 216 w 216"/>
                <a:gd name="T1" fmla="*/ 70 h 73"/>
                <a:gd name="T2" fmla="*/ 0 w 216"/>
                <a:gd name="T3" fmla="*/ 0 h 73"/>
                <a:gd name="T4" fmla="*/ 4 w 216"/>
                <a:gd name="T5" fmla="*/ 2 h 73"/>
                <a:gd name="T6" fmla="*/ 155 w 216"/>
                <a:gd name="T7" fmla="*/ 73 h 73"/>
                <a:gd name="T8" fmla="*/ 216 w 216"/>
                <a:gd name="T9" fmla="*/ 7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73">
                  <a:moveTo>
                    <a:pt x="216" y="70"/>
                  </a:moveTo>
                  <a:cubicBezTo>
                    <a:pt x="149" y="39"/>
                    <a:pt x="77" y="15"/>
                    <a:pt x="0" y="0"/>
                  </a:cubicBezTo>
                  <a:cubicBezTo>
                    <a:pt x="2" y="0"/>
                    <a:pt x="3" y="1"/>
                    <a:pt x="4" y="2"/>
                  </a:cubicBezTo>
                  <a:cubicBezTo>
                    <a:pt x="58" y="21"/>
                    <a:pt x="108" y="46"/>
                    <a:pt x="155" y="73"/>
                  </a:cubicBezTo>
                  <a:cubicBezTo>
                    <a:pt x="175" y="71"/>
                    <a:pt x="195" y="70"/>
                    <a:pt x="216" y="70"/>
                  </a:cubicBezTo>
                  <a:close/>
                </a:path>
              </a:pathLst>
            </a:custGeom>
            <a:solidFill>
              <a:schemeClr val="accent5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4262438" y="836875"/>
              <a:ext cx="3222625" cy="1439863"/>
            </a:xfrm>
            <a:custGeom>
              <a:avLst/>
              <a:gdLst>
                <a:gd name="T0" fmla="*/ 295 w 338"/>
                <a:gd name="T1" fmla="*/ 71 h 151"/>
                <a:gd name="T2" fmla="*/ 144 w 338"/>
                <a:gd name="T3" fmla="*/ 0 h 151"/>
                <a:gd name="T4" fmla="*/ 207 w 338"/>
                <a:gd name="T5" fmla="*/ 50 h 151"/>
                <a:gd name="T6" fmla="*/ 207 w 338"/>
                <a:gd name="T7" fmla="*/ 50 h 151"/>
                <a:gd name="T8" fmla="*/ 240 w 338"/>
                <a:gd name="T9" fmla="*/ 78 h 151"/>
                <a:gd name="T10" fmla="*/ 0 w 338"/>
                <a:gd name="T11" fmla="*/ 151 h 151"/>
                <a:gd name="T12" fmla="*/ 262 w 338"/>
                <a:gd name="T13" fmla="*/ 98 h 151"/>
                <a:gd name="T14" fmla="*/ 338 w 338"/>
                <a:gd name="T15" fmla="*/ 98 h 151"/>
                <a:gd name="T16" fmla="*/ 295 w 338"/>
                <a:gd name="T17" fmla="*/ 7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8" h="151">
                  <a:moveTo>
                    <a:pt x="295" y="71"/>
                  </a:moveTo>
                  <a:cubicBezTo>
                    <a:pt x="248" y="44"/>
                    <a:pt x="198" y="19"/>
                    <a:pt x="144" y="0"/>
                  </a:cubicBezTo>
                  <a:cubicBezTo>
                    <a:pt x="166" y="16"/>
                    <a:pt x="187" y="32"/>
                    <a:pt x="207" y="50"/>
                  </a:cubicBezTo>
                  <a:cubicBezTo>
                    <a:pt x="207" y="50"/>
                    <a:pt x="207" y="50"/>
                    <a:pt x="207" y="50"/>
                  </a:cubicBezTo>
                  <a:cubicBezTo>
                    <a:pt x="218" y="59"/>
                    <a:pt x="229" y="68"/>
                    <a:pt x="240" y="78"/>
                  </a:cubicBezTo>
                  <a:cubicBezTo>
                    <a:pt x="155" y="91"/>
                    <a:pt x="74" y="116"/>
                    <a:pt x="0" y="151"/>
                  </a:cubicBezTo>
                  <a:cubicBezTo>
                    <a:pt x="82" y="121"/>
                    <a:pt x="171" y="103"/>
                    <a:pt x="262" y="98"/>
                  </a:cubicBezTo>
                  <a:cubicBezTo>
                    <a:pt x="287" y="97"/>
                    <a:pt x="313" y="97"/>
                    <a:pt x="338" y="98"/>
                  </a:cubicBezTo>
                  <a:cubicBezTo>
                    <a:pt x="324" y="89"/>
                    <a:pt x="310" y="80"/>
                    <a:pt x="295" y="71"/>
                  </a:cubicBezTo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7"/>
            <p:cNvSpPr>
              <a:spLocks/>
            </p:cNvSpPr>
            <p:nvPr userDrawn="1"/>
          </p:nvSpPr>
          <p:spPr bwMode="auto">
            <a:xfrm>
              <a:off x="4214813" y="1325563"/>
              <a:ext cx="2335213" cy="982663"/>
            </a:xfrm>
            <a:custGeom>
              <a:avLst/>
              <a:gdLst>
                <a:gd name="T0" fmla="*/ 212 w 245"/>
                <a:gd name="T1" fmla="*/ 0 h 103"/>
                <a:gd name="T2" fmla="*/ 0 w 245"/>
                <a:gd name="T3" fmla="*/ 103 h 103"/>
                <a:gd name="T4" fmla="*/ 6 w 245"/>
                <a:gd name="T5" fmla="*/ 101 h 103"/>
                <a:gd name="T6" fmla="*/ 245 w 245"/>
                <a:gd name="T7" fmla="*/ 28 h 103"/>
                <a:gd name="T8" fmla="*/ 212 w 245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103">
                  <a:moveTo>
                    <a:pt x="212" y="0"/>
                  </a:moveTo>
                  <a:cubicBezTo>
                    <a:pt x="135" y="25"/>
                    <a:pt x="63" y="60"/>
                    <a:pt x="0" y="103"/>
                  </a:cubicBezTo>
                  <a:cubicBezTo>
                    <a:pt x="2" y="102"/>
                    <a:pt x="4" y="101"/>
                    <a:pt x="6" y="101"/>
                  </a:cubicBezTo>
                  <a:cubicBezTo>
                    <a:pt x="79" y="66"/>
                    <a:pt x="160" y="41"/>
                    <a:pt x="245" y="28"/>
                  </a:cubicBezTo>
                  <a:cubicBezTo>
                    <a:pt x="235" y="18"/>
                    <a:pt x="224" y="9"/>
                    <a:pt x="212" y="0"/>
                  </a:cubicBezTo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7061463" y="1484575"/>
              <a:ext cx="1296987" cy="373063"/>
            </a:xfrm>
            <a:custGeom>
              <a:avLst/>
              <a:gdLst>
                <a:gd name="T0" fmla="*/ 61 w 136"/>
                <a:gd name="T1" fmla="*/ 0 h 39"/>
                <a:gd name="T2" fmla="*/ 0 w 136"/>
                <a:gd name="T3" fmla="*/ 3 h 39"/>
                <a:gd name="T4" fmla="*/ 43 w 136"/>
                <a:gd name="T5" fmla="*/ 30 h 39"/>
                <a:gd name="T6" fmla="*/ 136 w 136"/>
                <a:gd name="T7" fmla="*/ 39 h 39"/>
                <a:gd name="T8" fmla="*/ 61 w 136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39">
                  <a:moveTo>
                    <a:pt x="61" y="0"/>
                  </a:moveTo>
                  <a:cubicBezTo>
                    <a:pt x="40" y="0"/>
                    <a:pt x="20" y="1"/>
                    <a:pt x="0" y="3"/>
                  </a:cubicBezTo>
                  <a:cubicBezTo>
                    <a:pt x="15" y="12"/>
                    <a:pt x="29" y="21"/>
                    <a:pt x="43" y="30"/>
                  </a:cubicBezTo>
                  <a:cubicBezTo>
                    <a:pt x="74" y="32"/>
                    <a:pt x="105" y="35"/>
                    <a:pt x="136" y="39"/>
                  </a:cubicBezTo>
                  <a:cubicBezTo>
                    <a:pt x="112" y="25"/>
                    <a:pt x="87" y="12"/>
                    <a:pt x="61" y="0"/>
                  </a:cubicBezTo>
                  <a:close/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867043872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450867019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1118014230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955182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694717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045169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3960664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018447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bg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093314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34434" y="1284288"/>
            <a:ext cx="11523133" cy="914400"/>
          </a:xfrm>
        </p:spPr>
        <p:txBody>
          <a:bodyPr lIns="0" rIns="0" anchor="ctr">
            <a:noAutofit/>
          </a:bodyPr>
          <a:lstStyle>
            <a:lvl1pPr marL="0" indent="0">
              <a:buNone/>
              <a:defRPr sz="3733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334434" y="2305223"/>
            <a:ext cx="11523133" cy="914400"/>
          </a:xfrm>
        </p:spPr>
        <p:txBody>
          <a:bodyPr lIns="0" rIns="0">
            <a:noAutofit/>
          </a:bodyPr>
          <a:lstStyle>
            <a:lvl1pPr marL="0" indent="0">
              <a:buNone/>
              <a:defRPr sz="2667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Freeform 20"/>
          <p:cNvSpPr>
            <a:spLocks/>
          </p:cNvSpPr>
          <p:nvPr userDrawn="1"/>
        </p:nvSpPr>
        <p:spPr bwMode="auto">
          <a:xfrm>
            <a:off x="3439528" y="2997793"/>
            <a:ext cx="8752472" cy="3884084"/>
          </a:xfrm>
          <a:custGeom>
            <a:avLst/>
            <a:gdLst>
              <a:gd name="connsiteX0" fmla="*/ 6564354 w 6564354"/>
              <a:gd name="connsiteY0" fmla="*/ 0 h 2913063"/>
              <a:gd name="connsiteX1" fmla="*/ 6564354 w 6564354"/>
              <a:gd name="connsiteY1" fmla="*/ 1240190 h 2913063"/>
              <a:gd name="connsiteX2" fmla="*/ 662256 w 6564354"/>
              <a:gd name="connsiteY2" fmla="*/ 2882854 h 2913063"/>
              <a:gd name="connsiteX3" fmla="*/ 589330 w 6564354"/>
              <a:gd name="connsiteY3" fmla="*/ 2913063 h 2913063"/>
              <a:gd name="connsiteX4" fmla="*/ 0 w 6564354"/>
              <a:gd name="connsiteY4" fmla="*/ 2913063 h 2913063"/>
              <a:gd name="connsiteX5" fmla="*/ 323355 w 6564354"/>
              <a:gd name="connsiteY5" fmla="*/ 2720335 h 2913063"/>
              <a:gd name="connsiteX6" fmla="*/ 6564354 w 6564354"/>
              <a:gd name="connsiteY6" fmla="*/ 0 h 2913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64354" h="2913063">
                <a:moveTo>
                  <a:pt x="6564354" y="0"/>
                </a:moveTo>
                <a:lnTo>
                  <a:pt x="6564354" y="1240190"/>
                </a:lnTo>
                <a:cubicBezTo>
                  <a:pt x="3910384" y="1646031"/>
                  <a:pt x="2731793" y="2031305"/>
                  <a:pt x="662256" y="2882854"/>
                </a:cubicBezTo>
                <a:lnTo>
                  <a:pt x="589330" y="2913063"/>
                </a:lnTo>
                <a:lnTo>
                  <a:pt x="0" y="2913063"/>
                </a:lnTo>
                <a:lnTo>
                  <a:pt x="323355" y="2720335"/>
                </a:lnTo>
                <a:cubicBezTo>
                  <a:pt x="3116317" y="1062246"/>
                  <a:pt x="4436791" y="394872"/>
                  <a:pt x="6564354" y="0"/>
                </a:cubicBezTo>
                <a:close/>
              </a:path>
            </a:pathLst>
          </a:custGeom>
          <a:solidFill>
            <a:srgbClr val="ED17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  <p:sp>
        <p:nvSpPr>
          <p:cNvPr id="16" name="Freeform 16"/>
          <p:cNvSpPr>
            <a:spLocks/>
          </p:cNvSpPr>
          <p:nvPr userDrawn="1"/>
        </p:nvSpPr>
        <p:spPr bwMode="auto">
          <a:xfrm>
            <a:off x="5143501" y="4650910"/>
            <a:ext cx="7048500" cy="2230967"/>
          </a:xfrm>
          <a:custGeom>
            <a:avLst/>
            <a:gdLst>
              <a:gd name="T0" fmla="*/ 0 w 904"/>
              <a:gd name="T1" fmla="*/ 284 h 286"/>
              <a:gd name="T2" fmla="*/ 904 w 904"/>
              <a:gd name="T3" fmla="*/ 0 h 286"/>
              <a:gd name="T4" fmla="*/ 904 w 904"/>
              <a:gd name="T5" fmla="*/ 7 h 286"/>
              <a:gd name="T6" fmla="*/ 319 w 904"/>
              <a:gd name="T7" fmla="*/ 286 h 286"/>
              <a:gd name="T8" fmla="*/ 0 w 904"/>
              <a:gd name="T9" fmla="*/ 284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4" h="286">
                <a:moveTo>
                  <a:pt x="0" y="284"/>
                </a:moveTo>
                <a:cubicBezTo>
                  <a:pt x="281" y="153"/>
                  <a:pt x="584" y="57"/>
                  <a:pt x="904" y="0"/>
                </a:cubicBezTo>
                <a:cubicBezTo>
                  <a:pt x="904" y="13"/>
                  <a:pt x="904" y="4"/>
                  <a:pt x="904" y="7"/>
                </a:cubicBezTo>
                <a:cubicBezTo>
                  <a:pt x="677" y="89"/>
                  <a:pt x="516" y="169"/>
                  <a:pt x="319" y="286"/>
                </a:cubicBezTo>
                <a:cubicBezTo>
                  <a:pt x="232" y="286"/>
                  <a:pt x="86" y="286"/>
                  <a:pt x="0" y="284"/>
                </a:cubicBezTo>
              </a:path>
            </a:pathLst>
          </a:custGeom>
          <a:solidFill>
            <a:srgbClr val="00BACE">
              <a:alpha val="5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3200" dirty="0"/>
          </a:p>
        </p:txBody>
      </p:sp>
      <p:grpSp>
        <p:nvGrpSpPr>
          <p:cNvPr id="26" name="Group 23"/>
          <p:cNvGrpSpPr>
            <a:grpSpLocks noChangeAspect="1"/>
          </p:cNvGrpSpPr>
          <p:nvPr userDrawn="1"/>
        </p:nvGrpSpPr>
        <p:grpSpPr bwMode="auto">
          <a:xfrm>
            <a:off x="440695" y="5754348"/>
            <a:ext cx="1326460" cy="856121"/>
            <a:chOff x="370" y="0"/>
            <a:chExt cx="5020" cy="3240"/>
          </a:xfrm>
        </p:grpSpPr>
        <p:sp>
          <p:nvSpPr>
            <p:cNvPr id="29" name="Freeform 25"/>
            <p:cNvSpPr>
              <a:spLocks/>
            </p:cNvSpPr>
            <p:nvPr userDrawn="1"/>
          </p:nvSpPr>
          <p:spPr bwMode="auto">
            <a:xfrm>
              <a:off x="2373" y="0"/>
              <a:ext cx="1445" cy="495"/>
            </a:xfrm>
            <a:custGeom>
              <a:avLst/>
              <a:gdLst>
                <a:gd name="T0" fmla="*/ 248 w 248"/>
                <a:gd name="T1" fmla="*/ 81 h 85"/>
                <a:gd name="T2" fmla="*/ 0 w 248"/>
                <a:gd name="T3" fmla="*/ 0 h 85"/>
                <a:gd name="T4" fmla="*/ 3 w 248"/>
                <a:gd name="T5" fmla="*/ 3 h 85"/>
                <a:gd name="T6" fmla="*/ 178 w 248"/>
                <a:gd name="T7" fmla="*/ 85 h 85"/>
                <a:gd name="T8" fmla="*/ 248 w 248"/>
                <a:gd name="T9" fmla="*/ 8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5">
                  <a:moveTo>
                    <a:pt x="248" y="81"/>
                  </a:moveTo>
                  <a:cubicBezTo>
                    <a:pt x="171" y="45"/>
                    <a:pt x="87" y="18"/>
                    <a:pt x="0" y="0"/>
                  </a:cubicBezTo>
                  <a:cubicBezTo>
                    <a:pt x="1" y="1"/>
                    <a:pt x="2" y="2"/>
                    <a:pt x="3" y="3"/>
                  </a:cubicBezTo>
                  <a:cubicBezTo>
                    <a:pt x="66" y="26"/>
                    <a:pt x="124" y="53"/>
                    <a:pt x="178" y="85"/>
                  </a:cubicBezTo>
                  <a:cubicBezTo>
                    <a:pt x="201" y="83"/>
                    <a:pt x="225" y="82"/>
                    <a:pt x="248" y="81"/>
                  </a:cubicBezTo>
                </a:path>
              </a:pathLst>
            </a:custGeom>
            <a:solidFill>
              <a:srgbClr val="01B8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1430" y="18"/>
              <a:ext cx="2271" cy="1014"/>
            </a:xfrm>
            <a:custGeom>
              <a:avLst/>
              <a:gdLst>
                <a:gd name="T0" fmla="*/ 340 w 390"/>
                <a:gd name="T1" fmla="*/ 82 h 174"/>
                <a:gd name="T2" fmla="*/ 165 w 390"/>
                <a:gd name="T3" fmla="*/ 0 h 174"/>
                <a:gd name="T4" fmla="*/ 239 w 390"/>
                <a:gd name="T5" fmla="*/ 57 h 174"/>
                <a:gd name="T6" fmla="*/ 239 w 390"/>
                <a:gd name="T7" fmla="*/ 58 h 174"/>
                <a:gd name="T8" fmla="*/ 277 w 390"/>
                <a:gd name="T9" fmla="*/ 90 h 174"/>
                <a:gd name="T10" fmla="*/ 0 w 390"/>
                <a:gd name="T11" fmla="*/ 174 h 174"/>
                <a:gd name="T12" fmla="*/ 302 w 390"/>
                <a:gd name="T13" fmla="*/ 114 h 174"/>
                <a:gd name="T14" fmla="*/ 390 w 390"/>
                <a:gd name="T15" fmla="*/ 114 h 174"/>
                <a:gd name="T16" fmla="*/ 340 w 390"/>
                <a:gd name="T17" fmla="*/ 8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0" h="174">
                  <a:moveTo>
                    <a:pt x="340" y="82"/>
                  </a:moveTo>
                  <a:cubicBezTo>
                    <a:pt x="286" y="50"/>
                    <a:pt x="228" y="23"/>
                    <a:pt x="165" y="0"/>
                  </a:cubicBezTo>
                  <a:cubicBezTo>
                    <a:pt x="191" y="18"/>
                    <a:pt x="216" y="38"/>
                    <a:pt x="239" y="57"/>
                  </a:cubicBezTo>
                  <a:cubicBezTo>
                    <a:pt x="239" y="58"/>
                    <a:pt x="239" y="57"/>
                    <a:pt x="239" y="58"/>
                  </a:cubicBezTo>
                  <a:cubicBezTo>
                    <a:pt x="252" y="68"/>
                    <a:pt x="264" y="79"/>
                    <a:pt x="277" y="90"/>
                  </a:cubicBezTo>
                  <a:cubicBezTo>
                    <a:pt x="178" y="105"/>
                    <a:pt x="85" y="134"/>
                    <a:pt x="0" y="174"/>
                  </a:cubicBezTo>
                  <a:cubicBezTo>
                    <a:pt x="95" y="139"/>
                    <a:pt x="197" y="118"/>
                    <a:pt x="302" y="114"/>
                  </a:cubicBezTo>
                  <a:cubicBezTo>
                    <a:pt x="331" y="112"/>
                    <a:pt x="360" y="112"/>
                    <a:pt x="390" y="114"/>
                  </a:cubicBezTo>
                  <a:cubicBezTo>
                    <a:pt x="374" y="103"/>
                    <a:pt x="357" y="92"/>
                    <a:pt x="340" y="82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1401" y="356"/>
              <a:ext cx="1642" cy="687"/>
            </a:xfrm>
            <a:custGeom>
              <a:avLst/>
              <a:gdLst>
                <a:gd name="T0" fmla="*/ 244 w 282"/>
                <a:gd name="T1" fmla="*/ 0 h 118"/>
                <a:gd name="T2" fmla="*/ 0 w 282"/>
                <a:gd name="T3" fmla="*/ 118 h 118"/>
                <a:gd name="T4" fmla="*/ 6 w 282"/>
                <a:gd name="T5" fmla="*/ 116 h 118"/>
                <a:gd name="T6" fmla="*/ 282 w 282"/>
                <a:gd name="T7" fmla="*/ 32 h 118"/>
                <a:gd name="T8" fmla="*/ 244 w 282"/>
                <a:gd name="T9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118">
                  <a:moveTo>
                    <a:pt x="244" y="0"/>
                  </a:moveTo>
                  <a:cubicBezTo>
                    <a:pt x="154" y="29"/>
                    <a:pt x="72" y="69"/>
                    <a:pt x="0" y="118"/>
                  </a:cubicBezTo>
                  <a:cubicBezTo>
                    <a:pt x="2" y="118"/>
                    <a:pt x="4" y="117"/>
                    <a:pt x="6" y="116"/>
                  </a:cubicBezTo>
                  <a:cubicBezTo>
                    <a:pt x="90" y="76"/>
                    <a:pt x="183" y="47"/>
                    <a:pt x="282" y="32"/>
                  </a:cubicBezTo>
                  <a:cubicBezTo>
                    <a:pt x="270" y="21"/>
                    <a:pt x="257" y="10"/>
                    <a:pt x="244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0" name="Freeform 26"/>
            <p:cNvSpPr>
              <a:spLocks/>
            </p:cNvSpPr>
            <p:nvPr userDrawn="1"/>
          </p:nvSpPr>
          <p:spPr bwMode="auto">
            <a:xfrm>
              <a:off x="3410" y="472"/>
              <a:ext cx="914" cy="268"/>
            </a:xfrm>
            <a:custGeom>
              <a:avLst/>
              <a:gdLst>
                <a:gd name="T0" fmla="*/ 70 w 157"/>
                <a:gd name="T1" fmla="*/ 0 h 46"/>
                <a:gd name="T2" fmla="*/ 0 w 157"/>
                <a:gd name="T3" fmla="*/ 4 h 46"/>
                <a:gd name="T4" fmla="*/ 50 w 157"/>
                <a:gd name="T5" fmla="*/ 36 h 46"/>
                <a:gd name="T6" fmla="*/ 157 w 157"/>
                <a:gd name="T7" fmla="*/ 46 h 46"/>
                <a:gd name="T8" fmla="*/ 70 w 157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46">
                  <a:moveTo>
                    <a:pt x="70" y="0"/>
                  </a:moveTo>
                  <a:cubicBezTo>
                    <a:pt x="47" y="1"/>
                    <a:pt x="23" y="2"/>
                    <a:pt x="0" y="4"/>
                  </a:cubicBezTo>
                  <a:cubicBezTo>
                    <a:pt x="17" y="14"/>
                    <a:pt x="34" y="25"/>
                    <a:pt x="50" y="36"/>
                  </a:cubicBezTo>
                  <a:cubicBezTo>
                    <a:pt x="85" y="37"/>
                    <a:pt x="121" y="40"/>
                    <a:pt x="157" y="46"/>
                  </a:cubicBezTo>
                  <a:cubicBezTo>
                    <a:pt x="129" y="29"/>
                    <a:pt x="100" y="14"/>
                    <a:pt x="70" y="0"/>
                  </a:cubicBezTo>
                </a:path>
              </a:pathLst>
            </a:custGeom>
            <a:solidFill>
              <a:srgbClr val="CC20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370" y="1072"/>
              <a:ext cx="693" cy="1154"/>
            </a:xfrm>
            <a:custGeom>
              <a:avLst/>
              <a:gdLst>
                <a:gd name="T0" fmla="*/ 60 w 119"/>
                <a:gd name="T1" fmla="*/ 198 h 198"/>
                <a:gd name="T2" fmla="*/ 0 w 119"/>
                <a:gd name="T3" fmla="*/ 158 h 198"/>
                <a:gd name="T4" fmla="*/ 0 w 119"/>
                <a:gd name="T5" fmla="*/ 39 h 198"/>
                <a:gd name="T6" fmla="*/ 60 w 119"/>
                <a:gd name="T7" fmla="*/ 0 h 198"/>
                <a:gd name="T8" fmla="*/ 119 w 119"/>
                <a:gd name="T9" fmla="*/ 39 h 198"/>
                <a:gd name="T10" fmla="*/ 119 w 119"/>
                <a:gd name="T11" fmla="*/ 158 h 198"/>
                <a:gd name="T12" fmla="*/ 60 w 119"/>
                <a:gd name="T13" fmla="*/ 198 h 198"/>
                <a:gd name="T14" fmla="*/ 60 w 119"/>
                <a:gd name="T15" fmla="*/ 18 h 198"/>
                <a:gd name="T16" fmla="*/ 20 w 119"/>
                <a:gd name="T17" fmla="*/ 39 h 198"/>
                <a:gd name="T18" fmla="*/ 20 w 119"/>
                <a:gd name="T19" fmla="*/ 157 h 198"/>
                <a:gd name="T20" fmla="*/ 20 w 119"/>
                <a:gd name="T21" fmla="*/ 163 h 198"/>
                <a:gd name="T22" fmla="*/ 20 w 119"/>
                <a:gd name="T23" fmla="*/ 163 h 198"/>
                <a:gd name="T24" fmla="*/ 60 w 119"/>
                <a:gd name="T25" fmla="*/ 179 h 198"/>
                <a:gd name="T26" fmla="*/ 99 w 119"/>
                <a:gd name="T27" fmla="*/ 163 h 198"/>
                <a:gd name="T28" fmla="*/ 99 w 119"/>
                <a:gd name="T29" fmla="*/ 163 h 198"/>
                <a:gd name="T30" fmla="*/ 100 w 119"/>
                <a:gd name="T31" fmla="*/ 157 h 198"/>
                <a:gd name="T32" fmla="*/ 100 w 119"/>
                <a:gd name="T33" fmla="*/ 39 h 198"/>
                <a:gd name="T34" fmla="*/ 60 w 119"/>
                <a:gd name="T35" fmla="*/ 1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9" h="198">
                  <a:moveTo>
                    <a:pt x="60" y="198"/>
                  </a:moveTo>
                  <a:cubicBezTo>
                    <a:pt x="31" y="198"/>
                    <a:pt x="0" y="186"/>
                    <a:pt x="0" y="15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2"/>
                    <a:pt x="31" y="0"/>
                    <a:pt x="60" y="0"/>
                  </a:cubicBezTo>
                  <a:cubicBezTo>
                    <a:pt x="88" y="0"/>
                    <a:pt x="119" y="12"/>
                    <a:pt x="119" y="39"/>
                  </a:cubicBezTo>
                  <a:cubicBezTo>
                    <a:pt x="119" y="158"/>
                    <a:pt x="119" y="158"/>
                    <a:pt x="119" y="158"/>
                  </a:cubicBezTo>
                  <a:cubicBezTo>
                    <a:pt x="119" y="186"/>
                    <a:pt x="88" y="198"/>
                    <a:pt x="60" y="198"/>
                  </a:cubicBezTo>
                  <a:moveTo>
                    <a:pt x="60" y="18"/>
                  </a:moveTo>
                  <a:cubicBezTo>
                    <a:pt x="40" y="18"/>
                    <a:pt x="20" y="25"/>
                    <a:pt x="20" y="39"/>
                  </a:cubicBezTo>
                  <a:cubicBezTo>
                    <a:pt x="20" y="157"/>
                    <a:pt x="20" y="157"/>
                    <a:pt x="20" y="157"/>
                  </a:cubicBezTo>
                  <a:cubicBezTo>
                    <a:pt x="20" y="162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ubicBezTo>
                    <a:pt x="24" y="172"/>
                    <a:pt x="40" y="179"/>
                    <a:pt x="60" y="179"/>
                  </a:cubicBezTo>
                  <a:cubicBezTo>
                    <a:pt x="80" y="179"/>
                    <a:pt x="96" y="172"/>
                    <a:pt x="99" y="163"/>
                  </a:cubicBezTo>
                  <a:cubicBezTo>
                    <a:pt x="99" y="163"/>
                    <a:pt x="99" y="163"/>
                    <a:pt x="99" y="163"/>
                  </a:cubicBezTo>
                  <a:cubicBezTo>
                    <a:pt x="99" y="163"/>
                    <a:pt x="100" y="162"/>
                    <a:pt x="100" y="157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25"/>
                    <a:pt x="80" y="18"/>
                    <a:pt x="60" y="18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8" name="Freeform 34"/>
            <p:cNvSpPr>
              <a:spLocks/>
            </p:cNvSpPr>
            <p:nvPr userDrawn="1"/>
          </p:nvSpPr>
          <p:spPr bwMode="auto">
            <a:xfrm>
              <a:off x="4779" y="1084"/>
              <a:ext cx="448" cy="1130"/>
            </a:xfrm>
            <a:custGeom>
              <a:avLst/>
              <a:gdLst>
                <a:gd name="T0" fmla="*/ 69 w 77"/>
                <a:gd name="T1" fmla="*/ 194 h 194"/>
                <a:gd name="T2" fmla="*/ 37 w 77"/>
                <a:gd name="T3" fmla="*/ 185 h 194"/>
                <a:gd name="T4" fmla="*/ 23 w 77"/>
                <a:gd name="T5" fmla="*/ 154 h 194"/>
                <a:gd name="T6" fmla="*/ 23 w 77"/>
                <a:gd name="T7" fmla="*/ 74 h 194"/>
                <a:gd name="T8" fmla="*/ 0 w 77"/>
                <a:gd name="T9" fmla="*/ 74 h 194"/>
                <a:gd name="T10" fmla="*/ 0 w 77"/>
                <a:gd name="T11" fmla="*/ 56 h 194"/>
                <a:gd name="T12" fmla="*/ 23 w 77"/>
                <a:gd name="T13" fmla="*/ 56 h 194"/>
                <a:gd name="T14" fmla="*/ 23 w 77"/>
                <a:gd name="T15" fmla="*/ 14 h 194"/>
                <a:gd name="T16" fmla="*/ 42 w 77"/>
                <a:gd name="T17" fmla="*/ 0 h 194"/>
                <a:gd name="T18" fmla="*/ 42 w 77"/>
                <a:gd name="T19" fmla="*/ 56 h 194"/>
                <a:gd name="T20" fmla="*/ 74 w 77"/>
                <a:gd name="T21" fmla="*/ 56 h 194"/>
                <a:gd name="T22" fmla="*/ 74 w 77"/>
                <a:gd name="T23" fmla="*/ 74 h 194"/>
                <a:gd name="T24" fmla="*/ 71 w 77"/>
                <a:gd name="T25" fmla="*/ 74 h 194"/>
                <a:gd name="T26" fmla="*/ 42 w 77"/>
                <a:gd name="T27" fmla="*/ 74 h 194"/>
                <a:gd name="T28" fmla="*/ 42 w 77"/>
                <a:gd name="T29" fmla="*/ 154 h 194"/>
                <a:gd name="T30" fmla="*/ 74 w 77"/>
                <a:gd name="T31" fmla="*/ 176 h 194"/>
                <a:gd name="T32" fmla="*/ 77 w 77"/>
                <a:gd name="T33" fmla="*/ 176 h 194"/>
                <a:gd name="T34" fmla="*/ 77 w 77"/>
                <a:gd name="T35" fmla="*/ 194 h 194"/>
                <a:gd name="T36" fmla="*/ 74 w 77"/>
                <a:gd name="T37" fmla="*/ 194 h 194"/>
                <a:gd name="T38" fmla="*/ 69 w 77"/>
                <a:gd name="T3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7" h="194">
                  <a:moveTo>
                    <a:pt x="69" y="194"/>
                  </a:moveTo>
                  <a:cubicBezTo>
                    <a:pt x="56" y="194"/>
                    <a:pt x="45" y="191"/>
                    <a:pt x="37" y="185"/>
                  </a:cubicBezTo>
                  <a:cubicBezTo>
                    <a:pt x="28" y="179"/>
                    <a:pt x="23" y="168"/>
                    <a:pt x="23" y="154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61" y="74"/>
                    <a:pt x="52" y="74"/>
                    <a:pt x="42" y="74"/>
                  </a:cubicBezTo>
                  <a:cubicBezTo>
                    <a:pt x="42" y="154"/>
                    <a:pt x="42" y="154"/>
                    <a:pt x="42" y="154"/>
                  </a:cubicBezTo>
                  <a:cubicBezTo>
                    <a:pt x="42" y="173"/>
                    <a:pt x="56" y="175"/>
                    <a:pt x="74" y="176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77" y="194"/>
                    <a:pt x="77" y="194"/>
                    <a:pt x="77" y="194"/>
                  </a:cubicBezTo>
                  <a:cubicBezTo>
                    <a:pt x="74" y="194"/>
                    <a:pt x="74" y="194"/>
                    <a:pt x="74" y="194"/>
                  </a:cubicBezTo>
                  <a:cubicBezTo>
                    <a:pt x="72" y="194"/>
                    <a:pt x="71" y="194"/>
                    <a:pt x="69" y="194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3" name="Freeform 29"/>
            <p:cNvSpPr>
              <a:spLocks noEditPoints="1"/>
            </p:cNvSpPr>
            <p:nvPr userDrawn="1"/>
          </p:nvSpPr>
          <p:spPr bwMode="auto">
            <a:xfrm>
              <a:off x="1185" y="1399"/>
              <a:ext cx="618" cy="1142"/>
            </a:xfrm>
            <a:custGeom>
              <a:avLst/>
              <a:gdLst>
                <a:gd name="T0" fmla="*/ 0 w 106"/>
                <a:gd name="T1" fmla="*/ 196 h 196"/>
                <a:gd name="T2" fmla="*/ 0 w 106"/>
                <a:gd name="T3" fmla="*/ 3 h 196"/>
                <a:gd name="T4" fmla="*/ 18 w 106"/>
                <a:gd name="T5" fmla="*/ 3 h 196"/>
                <a:gd name="T6" fmla="*/ 18 w 106"/>
                <a:gd name="T7" fmla="*/ 13 h 196"/>
                <a:gd name="T8" fmla="*/ 56 w 106"/>
                <a:gd name="T9" fmla="*/ 0 h 196"/>
                <a:gd name="T10" fmla="*/ 74 w 106"/>
                <a:gd name="T11" fmla="*/ 3 h 196"/>
                <a:gd name="T12" fmla="*/ 106 w 106"/>
                <a:gd name="T13" fmla="*/ 39 h 196"/>
                <a:gd name="T14" fmla="*/ 106 w 106"/>
                <a:gd name="T15" fmla="*/ 100 h 196"/>
                <a:gd name="T16" fmla="*/ 55 w 106"/>
                <a:gd name="T17" fmla="*/ 140 h 196"/>
                <a:gd name="T18" fmla="*/ 55 w 106"/>
                <a:gd name="T19" fmla="*/ 140 h 196"/>
                <a:gd name="T20" fmla="*/ 20 w 106"/>
                <a:gd name="T21" fmla="*/ 129 h 196"/>
                <a:gd name="T22" fmla="*/ 20 w 106"/>
                <a:gd name="T23" fmla="*/ 182 h 196"/>
                <a:gd name="T24" fmla="*/ 0 w 106"/>
                <a:gd name="T25" fmla="*/ 196 h 196"/>
                <a:gd name="T26" fmla="*/ 53 w 106"/>
                <a:gd name="T27" fmla="*/ 19 h 196"/>
                <a:gd name="T28" fmla="*/ 20 w 106"/>
                <a:gd name="T29" fmla="*/ 45 h 196"/>
                <a:gd name="T30" fmla="*/ 20 w 106"/>
                <a:gd name="T31" fmla="*/ 102 h 196"/>
                <a:gd name="T32" fmla="*/ 54 w 106"/>
                <a:gd name="T33" fmla="*/ 122 h 196"/>
                <a:gd name="T34" fmla="*/ 54 w 106"/>
                <a:gd name="T35" fmla="*/ 122 h 196"/>
                <a:gd name="T36" fmla="*/ 77 w 106"/>
                <a:gd name="T37" fmla="*/ 116 h 196"/>
                <a:gd name="T38" fmla="*/ 87 w 106"/>
                <a:gd name="T39" fmla="*/ 100 h 196"/>
                <a:gd name="T40" fmla="*/ 87 w 106"/>
                <a:gd name="T41" fmla="*/ 36 h 196"/>
                <a:gd name="T42" fmla="*/ 68 w 106"/>
                <a:gd name="T43" fmla="*/ 21 h 196"/>
                <a:gd name="T44" fmla="*/ 53 w 106"/>
                <a:gd name="T45" fmla="*/ 19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6" h="196">
                  <a:moveTo>
                    <a:pt x="0" y="196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27" y="5"/>
                    <a:pt x="41" y="0"/>
                    <a:pt x="56" y="0"/>
                  </a:cubicBezTo>
                  <a:cubicBezTo>
                    <a:pt x="63" y="0"/>
                    <a:pt x="68" y="1"/>
                    <a:pt x="74" y="3"/>
                  </a:cubicBezTo>
                  <a:cubicBezTo>
                    <a:pt x="94" y="8"/>
                    <a:pt x="106" y="22"/>
                    <a:pt x="106" y="3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126"/>
                    <a:pt x="80" y="140"/>
                    <a:pt x="55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1" y="140"/>
                    <a:pt x="28" y="136"/>
                    <a:pt x="20" y="129"/>
                  </a:cubicBezTo>
                  <a:cubicBezTo>
                    <a:pt x="20" y="182"/>
                    <a:pt x="20" y="182"/>
                    <a:pt x="20" y="182"/>
                  </a:cubicBezTo>
                  <a:lnTo>
                    <a:pt x="0" y="196"/>
                  </a:lnTo>
                  <a:close/>
                  <a:moveTo>
                    <a:pt x="53" y="19"/>
                  </a:moveTo>
                  <a:cubicBezTo>
                    <a:pt x="41" y="19"/>
                    <a:pt x="20" y="25"/>
                    <a:pt x="20" y="45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20" y="115"/>
                    <a:pt x="37" y="122"/>
                    <a:pt x="54" y="122"/>
                  </a:cubicBezTo>
                  <a:cubicBezTo>
                    <a:pt x="54" y="122"/>
                    <a:pt x="54" y="122"/>
                    <a:pt x="54" y="122"/>
                  </a:cubicBezTo>
                  <a:cubicBezTo>
                    <a:pt x="63" y="122"/>
                    <a:pt x="71" y="120"/>
                    <a:pt x="77" y="116"/>
                  </a:cubicBezTo>
                  <a:cubicBezTo>
                    <a:pt x="84" y="112"/>
                    <a:pt x="87" y="107"/>
                    <a:pt x="87" y="100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5" y="27"/>
                    <a:pt x="74" y="23"/>
                    <a:pt x="68" y="21"/>
                  </a:cubicBezTo>
                  <a:cubicBezTo>
                    <a:pt x="64" y="20"/>
                    <a:pt x="59" y="19"/>
                    <a:pt x="53" y="19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1902" y="1399"/>
              <a:ext cx="629" cy="821"/>
            </a:xfrm>
            <a:custGeom>
              <a:avLst/>
              <a:gdLst>
                <a:gd name="T0" fmla="*/ 53 w 108"/>
                <a:gd name="T1" fmla="*/ 141 h 141"/>
                <a:gd name="T2" fmla="*/ 0 w 108"/>
                <a:gd name="T3" fmla="*/ 112 h 141"/>
                <a:gd name="T4" fmla="*/ 0 w 108"/>
                <a:gd name="T5" fmla="*/ 110 h 141"/>
                <a:gd name="T6" fmla="*/ 16 w 108"/>
                <a:gd name="T7" fmla="*/ 100 h 141"/>
                <a:gd name="T8" fmla="*/ 17 w 108"/>
                <a:gd name="T9" fmla="*/ 103 h 141"/>
                <a:gd name="T10" fmla="*/ 53 w 108"/>
                <a:gd name="T11" fmla="*/ 122 h 141"/>
                <a:gd name="T12" fmla="*/ 70 w 108"/>
                <a:gd name="T13" fmla="*/ 120 h 141"/>
                <a:gd name="T14" fmla="*/ 89 w 108"/>
                <a:gd name="T15" fmla="*/ 101 h 141"/>
                <a:gd name="T16" fmla="*/ 54 w 108"/>
                <a:gd name="T17" fmla="*/ 81 h 141"/>
                <a:gd name="T18" fmla="*/ 53 w 108"/>
                <a:gd name="T19" fmla="*/ 81 h 141"/>
                <a:gd name="T20" fmla="*/ 3 w 108"/>
                <a:gd name="T21" fmla="*/ 41 h 141"/>
                <a:gd name="T22" fmla="*/ 36 w 108"/>
                <a:gd name="T23" fmla="*/ 3 h 141"/>
                <a:gd name="T24" fmla="*/ 57 w 108"/>
                <a:gd name="T25" fmla="*/ 0 h 141"/>
                <a:gd name="T26" fmla="*/ 105 w 108"/>
                <a:gd name="T27" fmla="*/ 24 h 141"/>
                <a:gd name="T28" fmla="*/ 106 w 108"/>
                <a:gd name="T29" fmla="*/ 26 h 141"/>
                <a:gd name="T30" fmla="*/ 90 w 108"/>
                <a:gd name="T31" fmla="*/ 36 h 141"/>
                <a:gd name="T32" fmla="*/ 89 w 108"/>
                <a:gd name="T33" fmla="*/ 34 h 141"/>
                <a:gd name="T34" fmla="*/ 58 w 108"/>
                <a:gd name="T35" fmla="*/ 20 h 141"/>
                <a:gd name="T36" fmla="*/ 41 w 108"/>
                <a:gd name="T37" fmla="*/ 22 h 141"/>
                <a:gd name="T38" fmla="*/ 22 w 108"/>
                <a:gd name="T39" fmla="*/ 41 h 141"/>
                <a:gd name="T40" fmla="*/ 56 w 108"/>
                <a:gd name="T41" fmla="*/ 62 h 141"/>
                <a:gd name="T42" fmla="*/ 108 w 108"/>
                <a:gd name="T43" fmla="*/ 101 h 141"/>
                <a:gd name="T44" fmla="*/ 75 w 108"/>
                <a:gd name="T45" fmla="*/ 138 h 141"/>
                <a:gd name="T46" fmla="*/ 53 w 108"/>
                <a:gd name="T4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8" h="141">
                  <a:moveTo>
                    <a:pt x="53" y="141"/>
                  </a:moveTo>
                  <a:cubicBezTo>
                    <a:pt x="33" y="141"/>
                    <a:pt x="8" y="134"/>
                    <a:pt x="0" y="112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24" y="120"/>
                    <a:pt x="42" y="122"/>
                    <a:pt x="53" y="122"/>
                  </a:cubicBezTo>
                  <a:cubicBezTo>
                    <a:pt x="58" y="122"/>
                    <a:pt x="65" y="121"/>
                    <a:pt x="70" y="120"/>
                  </a:cubicBezTo>
                  <a:cubicBezTo>
                    <a:pt x="75" y="118"/>
                    <a:pt x="89" y="113"/>
                    <a:pt x="89" y="101"/>
                  </a:cubicBezTo>
                  <a:cubicBezTo>
                    <a:pt x="89" y="86"/>
                    <a:pt x="76" y="84"/>
                    <a:pt x="54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29" y="78"/>
                    <a:pt x="2" y="74"/>
                    <a:pt x="3" y="41"/>
                  </a:cubicBezTo>
                  <a:cubicBezTo>
                    <a:pt x="3" y="23"/>
                    <a:pt x="15" y="9"/>
                    <a:pt x="36" y="3"/>
                  </a:cubicBezTo>
                  <a:cubicBezTo>
                    <a:pt x="42" y="1"/>
                    <a:pt x="50" y="0"/>
                    <a:pt x="57" y="0"/>
                  </a:cubicBezTo>
                  <a:cubicBezTo>
                    <a:pt x="68" y="0"/>
                    <a:pt x="95" y="3"/>
                    <a:pt x="105" y="24"/>
                  </a:cubicBezTo>
                  <a:cubicBezTo>
                    <a:pt x="106" y="26"/>
                    <a:pt x="106" y="26"/>
                    <a:pt x="106" y="26"/>
                  </a:cubicBezTo>
                  <a:cubicBezTo>
                    <a:pt x="90" y="36"/>
                    <a:pt x="90" y="36"/>
                    <a:pt x="90" y="36"/>
                  </a:cubicBezTo>
                  <a:cubicBezTo>
                    <a:pt x="89" y="34"/>
                    <a:pt x="89" y="34"/>
                    <a:pt x="89" y="34"/>
                  </a:cubicBezTo>
                  <a:cubicBezTo>
                    <a:pt x="81" y="21"/>
                    <a:pt x="66" y="20"/>
                    <a:pt x="58" y="20"/>
                  </a:cubicBezTo>
                  <a:cubicBezTo>
                    <a:pt x="52" y="20"/>
                    <a:pt x="46" y="20"/>
                    <a:pt x="41" y="22"/>
                  </a:cubicBezTo>
                  <a:cubicBezTo>
                    <a:pt x="34" y="24"/>
                    <a:pt x="22" y="29"/>
                    <a:pt x="22" y="41"/>
                  </a:cubicBezTo>
                  <a:cubicBezTo>
                    <a:pt x="22" y="56"/>
                    <a:pt x="35" y="59"/>
                    <a:pt x="56" y="62"/>
                  </a:cubicBezTo>
                  <a:cubicBezTo>
                    <a:pt x="81" y="65"/>
                    <a:pt x="108" y="68"/>
                    <a:pt x="108" y="101"/>
                  </a:cubicBezTo>
                  <a:cubicBezTo>
                    <a:pt x="107" y="119"/>
                    <a:pt x="95" y="133"/>
                    <a:pt x="75" y="138"/>
                  </a:cubicBezTo>
                  <a:cubicBezTo>
                    <a:pt x="68" y="140"/>
                    <a:pt x="61" y="141"/>
                    <a:pt x="53" y="141"/>
                  </a:cubicBezTo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6" name="Freeform 32"/>
            <p:cNvSpPr>
              <a:spLocks/>
            </p:cNvSpPr>
            <p:nvPr userDrawn="1"/>
          </p:nvSpPr>
          <p:spPr bwMode="auto">
            <a:xfrm>
              <a:off x="3381" y="1404"/>
              <a:ext cx="1042" cy="810"/>
            </a:xfrm>
            <a:custGeom>
              <a:avLst/>
              <a:gdLst>
                <a:gd name="T0" fmla="*/ 179 w 179"/>
                <a:gd name="T1" fmla="*/ 139 h 139"/>
                <a:gd name="T2" fmla="*/ 160 w 179"/>
                <a:gd name="T3" fmla="*/ 139 h 139"/>
                <a:gd name="T4" fmla="*/ 160 w 179"/>
                <a:gd name="T5" fmla="*/ 40 h 139"/>
                <a:gd name="T6" fmla="*/ 129 w 179"/>
                <a:gd name="T7" fmla="*/ 18 h 139"/>
                <a:gd name="T8" fmla="*/ 99 w 179"/>
                <a:gd name="T9" fmla="*/ 39 h 139"/>
                <a:gd name="T10" fmla="*/ 99 w 179"/>
                <a:gd name="T11" fmla="*/ 139 h 139"/>
                <a:gd name="T12" fmla="*/ 80 w 179"/>
                <a:gd name="T13" fmla="*/ 139 h 139"/>
                <a:gd name="T14" fmla="*/ 80 w 179"/>
                <a:gd name="T15" fmla="*/ 39 h 139"/>
                <a:gd name="T16" fmla="*/ 51 w 179"/>
                <a:gd name="T17" fmla="*/ 18 h 139"/>
                <a:gd name="T18" fmla="*/ 51 w 179"/>
                <a:gd name="T19" fmla="*/ 18 h 139"/>
                <a:gd name="T20" fmla="*/ 19 w 179"/>
                <a:gd name="T21" fmla="*/ 42 h 139"/>
                <a:gd name="T22" fmla="*/ 19 w 179"/>
                <a:gd name="T23" fmla="*/ 139 h 139"/>
                <a:gd name="T24" fmla="*/ 0 w 179"/>
                <a:gd name="T25" fmla="*/ 139 h 139"/>
                <a:gd name="T26" fmla="*/ 0 w 179"/>
                <a:gd name="T27" fmla="*/ 1 h 139"/>
                <a:gd name="T28" fmla="*/ 19 w 179"/>
                <a:gd name="T29" fmla="*/ 1 h 139"/>
                <a:gd name="T30" fmla="*/ 19 w 179"/>
                <a:gd name="T31" fmla="*/ 10 h 139"/>
                <a:gd name="T32" fmla="*/ 53 w 179"/>
                <a:gd name="T33" fmla="*/ 0 h 139"/>
                <a:gd name="T34" fmla="*/ 90 w 179"/>
                <a:gd name="T35" fmla="*/ 16 h 139"/>
                <a:gd name="T36" fmla="*/ 130 w 179"/>
                <a:gd name="T37" fmla="*/ 0 h 139"/>
                <a:gd name="T38" fmla="*/ 179 w 179"/>
                <a:gd name="T39" fmla="*/ 40 h 139"/>
                <a:gd name="T40" fmla="*/ 179 w 179"/>
                <a:gd name="T41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9" h="139">
                  <a:moveTo>
                    <a:pt x="179" y="139"/>
                  </a:moveTo>
                  <a:cubicBezTo>
                    <a:pt x="160" y="139"/>
                    <a:pt x="160" y="139"/>
                    <a:pt x="160" y="139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60" y="24"/>
                    <a:pt x="143" y="18"/>
                    <a:pt x="129" y="18"/>
                  </a:cubicBezTo>
                  <a:cubicBezTo>
                    <a:pt x="116" y="18"/>
                    <a:pt x="100" y="24"/>
                    <a:pt x="99" y="39"/>
                  </a:cubicBezTo>
                  <a:cubicBezTo>
                    <a:pt x="99" y="139"/>
                    <a:pt x="99" y="139"/>
                    <a:pt x="99" y="139"/>
                  </a:cubicBezTo>
                  <a:cubicBezTo>
                    <a:pt x="80" y="139"/>
                    <a:pt x="80" y="139"/>
                    <a:pt x="80" y="139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79" y="24"/>
                    <a:pt x="65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35" y="18"/>
                    <a:pt x="19" y="27"/>
                    <a:pt x="19" y="42"/>
                  </a:cubicBezTo>
                  <a:cubicBezTo>
                    <a:pt x="19" y="139"/>
                    <a:pt x="19" y="139"/>
                    <a:pt x="19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8" y="3"/>
                    <a:pt x="39" y="0"/>
                    <a:pt x="53" y="0"/>
                  </a:cubicBezTo>
                  <a:cubicBezTo>
                    <a:pt x="70" y="0"/>
                    <a:pt x="84" y="6"/>
                    <a:pt x="90" y="16"/>
                  </a:cubicBezTo>
                  <a:cubicBezTo>
                    <a:pt x="100" y="5"/>
                    <a:pt x="117" y="0"/>
                    <a:pt x="130" y="0"/>
                  </a:cubicBezTo>
                  <a:cubicBezTo>
                    <a:pt x="154" y="1"/>
                    <a:pt x="179" y="13"/>
                    <a:pt x="179" y="40"/>
                  </a:cubicBezTo>
                  <a:lnTo>
                    <a:pt x="179" y="139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5" name="Freeform 31"/>
            <p:cNvSpPr>
              <a:spLocks/>
            </p:cNvSpPr>
            <p:nvPr userDrawn="1"/>
          </p:nvSpPr>
          <p:spPr bwMode="auto">
            <a:xfrm>
              <a:off x="2630" y="1416"/>
              <a:ext cx="617" cy="804"/>
            </a:xfrm>
            <a:custGeom>
              <a:avLst/>
              <a:gdLst>
                <a:gd name="T0" fmla="*/ 54 w 106"/>
                <a:gd name="T1" fmla="*/ 138 h 138"/>
                <a:gd name="T2" fmla="*/ 54 w 106"/>
                <a:gd name="T3" fmla="*/ 138 h 138"/>
                <a:gd name="T4" fmla="*/ 0 w 106"/>
                <a:gd name="T5" fmla="*/ 98 h 138"/>
                <a:gd name="T6" fmla="*/ 0 w 106"/>
                <a:gd name="T7" fmla="*/ 15 h 138"/>
                <a:gd name="T8" fmla="*/ 19 w 106"/>
                <a:gd name="T9" fmla="*/ 1 h 138"/>
                <a:gd name="T10" fmla="*/ 19 w 106"/>
                <a:gd name="T11" fmla="*/ 98 h 138"/>
                <a:gd name="T12" fmla="*/ 53 w 106"/>
                <a:gd name="T13" fmla="*/ 119 h 138"/>
                <a:gd name="T14" fmla="*/ 87 w 106"/>
                <a:gd name="T15" fmla="*/ 96 h 138"/>
                <a:gd name="T16" fmla="*/ 87 w 106"/>
                <a:gd name="T17" fmla="*/ 0 h 138"/>
                <a:gd name="T18" fmla="*/ 106 w 106"/>
                <a:gd name="T19" fmla="*/ 0 h 138"/>
                <a:gd name="T20" fmla="*/ 106 w 106"/>
                <a:gd name="T21" fmla="*/ 137 h 138"/>
                <a:gd name="T22" fmla="*/ 87 w 106"/>
                <a:gd name="T23" fmla="*/ 137 h 138"/>
                <a:gd name="T24" fmla="*/ 87 w 106"/>
                <a:gd name="T25" fmla="*/ 128 h 138"/>
                <a:gd name="T26" fmla="*/ 54 w 106"/>
                <a:gd name="T27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6" h="138">
                  <a:moveTo>
                    <a:pt x="54" y="138"/>
                  </a:moveTo>
                  <a:cubicBezTo>
                    <a:pt x="54" y="138"/>
                    <a:pt x="54" y="138"/>
                    <a:pt x="54" y="138"/>
                  </a:cubicBezTo>
                  <a:cubicBezTo>
                    <a:pt x="27" y="138"/>
                    <a:pt x="0" y="126"/>
                    <a:pt x="0" y="9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112"/>
                    <a:pt x="36" y="119"/>
                    <a:pt x="53" y="119"/>
                  </a:cubicBezTo>
                  <a:cubicBezTo>
                    <a:pt x="70" y="119"/>
                    <a:pt x="87" y="112"/>
                    <a:pt x="87" y="96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87" y="137"/>
                    <a:pt x="87" y="137"/>
                    <a:pt x="87" y="137"/>
                  </a:cubicBezTo>
                  <a:cubicBezTo>
                    <a:pt x="87" y="128"/>
                    <a:pt x="87" y="128"/>
                    <a:pt x="87" y="128"/>
                  </a:cubicBezTo>
                  <a:cubicBezTo>
                    <a:pt x="79" y="134"/>
                    <a:pt x="68" y="138"/>
                    <a:pt x="54" y="138"/>
                  </a:cubicBez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4563" y="1439"/>
              <a:ext cx="111" cy="775"/>
            </a:xfrm>
            <a:custGeom>
              <a:avLst/>
              <a:gdLst>
                <a:gd name="T0" fmla="*/ 111 w 111"/>
                <a:gd name="T1" fmla="*/ 775 h 775"/>
                <a:gd name="T2" fmla="*/ 0 w 111"/>
                <a:gd name="T3" fmla="*/ 775 h 775"/>
                <a:gd name="T4" fmla="*/ 0 w 111"/>
                <a:gd name="T5" fmla="*/ 82 h 775"/>
                <a:gd name="T6" fmla="*/ 111 w 111"/>
                <a:gd name="T7" fmla="*/ 0 h 775"/>
                <a:gd name="T8" fmla="*/ 111 w 111"/>
                <a:gd name="T9" fmla="*/ 775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775">
                  <a:moveTo>
                    <a:pt x="111" y="775"/>
                  </a:moveTo>
                  <a:lnTo>
                    <a:pt x="0" y="775"/>
                  </a:lnTo>
                  <a:lnTo>
                    <a:pt x="0" y="82"/>
                  </a:lnTo>
                  <a:lnTo>
                    <a:pt x="111" y="0"/>
                  </a:lnTo>
                  <a:lnTo>
                    <a:pt x="111" y="775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5262" y="2098"/>
              <a:ext cx="128" cy="128"/>
            </a:xfrm>
            <a:custGeom>
              <a:avLst/>
              <a:gdLst>
                <a:gd name="T0" fmla="*/ 22 w 22"/>
                <a:gd name="T1" fmla="*/ 11 h 22"/>
                <a:gd name="T2" fmla="*/ 11 w 22"/>
                <a:gd name="T3" fmla="*/ 22 h 22"/>
                <a:gd name="T4" fmla="*/ 0 w 22"/>
                <a:gd name="T5" fmla="*/ 11 h 22"/>
                <a:gd name="T6" fmla="*/ 11 w 22"/>
                <a:gd name="T7" fmla="*/ 0 h 22"/>
                <a:gd name="T8" fmla="*/ 22 w 22"/>
                <a:gd name="T9" fmla="*/ 11 h 22"/>
                <a:gd name="T10" fmla="*/ 2 w 22"/>
                <a:gd name="T11" fmla="*/ 11 h 22"/>
                <a:gd name="T12" fmla="*/ 11 w 22"/>
                <a:gd name="T13" fmla="*/ 20 h 22"/>
                <a:gd name="T14" fmla="*/ 19 w 22"/>
                <a:gd name="T15" fmla="*/ 11 h 22"/>
                <a:gd name="T16" fmla="*/ 11 w 22"/>
                <a:gd name="T17" fmla="*/ 2 h 22"/>
                <a:gd name="T18" fmla="*/ 2 w 22"/>
                <a:gd name="T19" fmla="*/ 11 h 22"/>
                <a:gd name="T20" fmla="*/ 9 w 22"/>
                <a:gd name="T21" fmla="*/ 17 h 22"/>
                <a:gd name="T22" fmla="*/ 7 w 22"/>
                <a:gd name="T23" fmla="*/ 17 h 22"/>
                <a:gd name="T24" fmla="*/ 7 w 22"/>
                <a:gd name="T25" fmla="*/ 6 h 22"/>
                <a:gd name="T26" fmla="*/ 11 w 22"/>
                <a:gd name="T27" fmla="*/ 5 h 22"/>
                <a:gd name="T28" fmla="*/ 14 w 22"/>
                <a:gd name="T29" fmla="*/ 6 h 22"/>
                <a:gd name="T30" fmla="*/ 16 w 22"/>
                <a:gd name="T31" fmla="*/ 9 h 22"/>
                <a:gd name="T32" fmla="*/ 13 w 22"/>
                <a:gd name="T33" fmla="*/ 11 h 22"/>
                <a:gd name="T34" fmla="*/ 13 w 22"/>
                <a:gd name="T35" fmla="*/ 11 h 22"/>
                <a:gd name="T36" fmla="*/ 15 w 22"/>
                <a:gd name="T37" fmla="*/ 14 h 22"/>
                <a:gd name="T38" fmla="*/ 16 w 22"/>
                <a:gd name="T39" fmla="*/ 17 h 22"/>
                <a:gd name="T40" fmla="*/ 13 w 22"/>
                <a:gd name="T41" fmla="*/ 17 h 22"/>
                <a:gd name="T42" fmla="*/ 13 w 22"/>
                <a:gd name="T43" fmla="*/ 14 h 22"/>
                <a:gd name="T44" fmla="*/ 10 w 22"/>
                <a:gd name="T45" fmla="*/ 12 h 22"/>
                <a:gd name="T46" fmla="*/ 9 w 22"/>
                <a:gd name="T47" fmla="*/ 12 h 22"/>
                <a:gd name="T48" fmla="*/ 9 w 22"/>
                <a:gd name="T49" fmla="*/ 17 h 22"/>
                <a:gd name="T50" fmla="*/ 9 w 22"/>
                <a:gd name="T51" fmla="*/ 11 h 22"/>
                <a:gd name="T52" fmla="*/ 10 w 22"/>
                <a:gd name="T53" fmla="*/ 11 h 22"/>
                <a:gd name="T54" fmla="*/ 13 w 22"/>
                <a:gd name="T55" fmla="*/ 9 h 22"/>
                <a:gd name="T56" fmla="*/ 11 w 22"/>
                <a:gd name="T57" fmla="*/ 7 h 22"/>
                <a:gd name="T58" fmla="*/ 9 w 22"/>
                <a:gd name="T59" fmla="*/ 7 h 22"/>
                <a:gd name="T60" fmla="*/ 9 w 22"/>
                <a:gd name="T61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cubicBezTo>
                    <a:pt x="22" y="17"/>
                    <a:pt x="17" y="22"/>
                    <a:pt x="11" y="22"/>
                  </a:cubicBez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2" y="5"/>
                    <a:pt x="22" y="11"/>
                  </a:cubicBezTo>
                  <a:moveTo>
                    <a:pt x="2" y="11"/>
                  </a:moveTo>
                  <a:cubicBezTo>
                    <a:pt x="2" y="16"/>
                    <a:pt x="6" y="20"/>
                    <a:pt x="11" y="20"/>
                  </a:cubicBezTo>
                  <a:cubicBezTo>
                    <a:pt x="16" y="20"/>
                    <a:pt x="19" y="16"/>
                    <a:pt x="19" y="11"/>
                  </a:cubicBezTo>
                  <a:cubicBezTo>
                    <a:pt x="19" y="6"/>
                    <a:pt x="16" y="2"/>
                    <a:pt x="11" y="2"/>
                  </a:cubicBezTo>
                  <a:cubicBezTo>
                    <a:pt x="6" y="2"/>
                    <a:pt x="2" y="6"/>
                    <a:pt x="2" y="11"/>
                  </a:cubicBezTo>
                  <a:moveTo>
                    <a:pt x="9" y="17"/>
                  </a:moveTo>
                  <a:cubicBezTo>
                    <a:pt x="7" y="17"/>
                    <a:pt x="7" y="17"/>
                    <a:pt x="7" y="1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9" y="5"/>
                    <a:pt x="11" y="5"/>
                  </a:cubicBezTo>
                  <a:cubicBezTo>
                    <a:pt x="13" y="5"/>
                    <a:pt x="14" y="6"/>
                    <a:pt x="14" y="6"/>
                  </a:cubicBezTo>
                  <a:cubicBezTo>
                    <a:pt x="15" y="7"/>
                    <a:pt x="16" y="8"/>
                    <a:pt x="16" y="9"/>
                  </a:cubicBezTo>
                  <a:cubicBezTo>
                    <a:pt x="16" y="10"/>
                    <a:pt x="14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2"/>
                    <a:pt x="15" y="13"/>
                    <a:pt x="15" y="14"/>
                  </a:cubicBezTo>
                  <a:cubicBezTo>
                    <a:pt x="16" y="16"/>
                    <a:pt x="16" y="16"/>
                    <a:pt x="16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6"/>
                    <a:pt x="13" y="15"/>
                    <a:pt x="13" y="14"/>
                  </a:cubicBezTo>
                  <a:cubicBezTo>
                    <a:pt x="12" y="13"/>
                    <a:pt x="12" y="12"/>
                    <a:pt x="10" y="12"/>
                  </a:cubicBezTo>
                  <a:cubicBezTo>
                    <a:pt x="9" y="12"/>
                    <a:pt x="9" y="12"/>
                    <a:pt x="9" y="12"/>
                  </a:cubicBezTo>
                  <a:lnTo>
                    <a:pt x="9" y="17"/>
                  </a:lnTo>
                  <a:close/>
                  <a:moveTo>
                    <a:pt x="9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2" y="11"/>
                    <a:pt x="13" y="10"/>
                    <a:pt x="13" y="9"/>
                  </a:cubicBezTo>
                  <a:cubicBezTo>
                    <a:pt x="13" y="8"/>
                    <a:pt x="12" y="7"/>
                    <a:pt x="11" y="7"/>
                  </a:cubicBezTo>
                  <a:cubicBezTo>
                    <a:pt x="10" y="7"/>
                    <a:pt x="9" y="7"/>
                    <a:pt x="9" y="7"/>
                  </a:cubicBezTo>
                  <a:lnTo>
                    <a:pt x="9" y="11"/>
                  </a:lnTo>
                  <a:close/>
                </a:path>
              </a:pathLst>
            </a:custGeom>
            <a:solidFill>
              <a:srgbClr val="5161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3" name="Freeform 39"/>
            <p:cNvSpPr>
              <a:spLocks noEditPoints="1"/>
            </p:cNvSpPr>
            <p:nvPr userDrawn="1"/>
          </p:nvSpPr>
          <p:spPr bwMode="auto">
            <a:xfrm>
              <a:off x="3200" y="2378"/>
              <a:ext cx="41" cy="845"/>
            </a:xfrm>
            <a:custGeom>
              <a:avLst/>
              <a:gdLst>
                <a:gd name="T0" fmla="*/ 0 w 41"/>
                <a:gd name="T1" fmla="*/ 0 h 845"/>
                <a:gd name="T2" fmla="*/ 41 w 41"/>
                <a:gd name="T3" fmla="*/ 0 h 845"/>
                <a:gd name="T4" fmla="*/ 41 w 41"/>
                <a:gd name="T5" fmla="*/ 105 h 845"/>
                <a:gd name="T6" fmla="*/ 0 w 41"/>
                <a:gd name="T7" fmla="*/ 105 h 845"/>
                <a:gd name="T8" fmla="*/ 0 w 41"/>
                <a:gd name="T9" fmla="*/ 0 h 845"/>
                <a:gd name="T10" fmla="*/ 0 w 41"/>
                <a:gd name="T11" fmla="*/ 250 h 845"/>
                <a:gd name="T12" fmla="*/ 41 w 41"/>
                <a:gd name="T13" fmla="*/ 250 h 845"/>
                <a:gd name="T14" fmla="*/ 41 w 41"/>
                <a:gd name="T15" fmla="*/ 845 h 845"/>
                <a:gd name="T16" fmla="*/ 0 w 41"/>
                <a:gd name="T17" fmla="*/ 845 h 845"/>
                <a:gd name="T18" fmla="*/ 0 w 41"/>
                <a:gd name="T19" fmla="*/ 25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845">
                  <a:moveTo>
                    <a:pt x="0" y="0"/>
                  </a:moveTo>
                  <a:lnTo>
                    <a:pt x="41" y="0"/>
                  </a:lnTo>
                  <a:lnTo>
                    <a:pt x="41" y="105"/>
                  </a:lnTo>
                  <a:lnTo>
                    <a:pt x="0" y="105"/>
                  </a:lnTo>
                  <a:lnTo>
                    <a:pt x="0" y="0"/>
                  </a:lnTo>
                  <a:close/>
                  <a:moveTo>
                    <a:pt x="0" y="250"/>
                  </a:moveTo>
                  <a:lnTo>
                    <a:pt x="41" y="250"/>
                  </a:lnTo>
                  <a:lnTo>
                    <a:pt x="41" y="845"/>
                  </a:lnTo>
                  <a:lnTo>
                    <a:pt x="0" y="845"/>
                  </a:lnTo>
                  <a:lnTo>
                    <a:pt x="0" y="25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4" name="Freeform 40"/>
            <p:cNvSpPr>
              <a:spLocks/>
            </p:cNvSpPr>
            <p:nvPr userDrawn="1"/>
          </p:nvSpPr>
          <p:spPr bwMode="auto">
            <a:xfrm>
              <a:off x="3299" y="2378"/>
              <a:ext cx="210" cy="850"/>
            </a:xfrm>
            <a:custGeom>
              <a:avLst/>
              <a:gdLst>
                <a:gd name="T0" fmla="*/ 18 w 36"/>
                <a:gd name="T1" fmla="*/ 0 h 146"/>
                <a:gd name="T2" fmla="*/ 18 w 36"/>
                <a:gd name="T3" fmla="*/ 43 h 146"/>
                <a:gd name="T4" fmla="*/ 34 w 36"/>
                <a:gd name="T5" fmla="*/ 43 h 146"/>
                <a:gd name="T6" fmla="*/ 34 w 36"/>
                <a:gd name="T7" fmla="*/ 53 h 146"/>
                <a:gd name="T8" fmla="*/ 18 w 36"/>
                <a:gd name="T9" fmla="*/ 53 h 146"/>
                <a:gd name="T10" fmla="*/ 18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8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8" y="0"/>
                  </a:moveTo>
                  <a:cubicBezTo>
                    <a:pt x="18" y="43"/>
                    <a:pt x="18" y="43"/>
                    <a:pt x="18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9" y="53"/>
                    <a:pt x="24" y="53"/>
                    <a:pt x="18" y="53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3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7" name="Freeform 43"/>
            <p:cNvSpPr>
              <a:spLocks/>
            </p:cNvSpPr>
            <p:nvPr userDrawn="1"/>
          </p:nvSpPr>
          <p:spPr bwMode="auto">
            <a:xfrm>
              <a:off x="4295" y="2378"/>
              <a:ext cx="210" cy="850"/>
            </a:xfrm>
            <a:custGeom>
              <a:avLst/>
              <a:gdLst>
                <a:gd name="T0" fmla="*/ 19 w 36"/>
                <a:gd name="T1" fmla="*/ 0 h 146"/>
                <a:gd name="T2" fmla="*/ 19 w 36"/>
                <a:gd name="T3" fmla="*/ 43 h 146"/>
                <a:gd name="T4" fmla="*/ 35 w 36"/>
                <a:gd name="T5" fmla="*/ 43 h 146"/>
                <a:gd name="T6" fmla="*/ 35 w 36"/>
                <a:gd name="T7" fmla="*/ 53 h 146"/>
                <a:gd name="T8" fmla="*/ 19 w 36"/>
                <a:gd name="T9" fmla="*/ 53 h 146"/>
                <a:gd name="T10" fmla="*/ 19 w 36"/>
                <a:gd name="T11" fmla="*/ 116 h 146"/>
                <a:gd name="T12" fmla="*/ 36 w 36"/>
                <a:gd name="T13" fmla="*/ 136 h 146"/>
                <a:gd name="T14" fmla="*/ 36 w 36"/>
                <a:gd name="T15" fmla="*/ 145 h 146"/>
                <a:gd name="T16" fmla="*/ 12 w 36"/>
                <a:gd name="T17" fmla="*/ 117 h 146"/>
                <a:gd name="T18" fmla="*/ 12 w 36"/>
                <a:gd name="T19" fmla="*/ 53 h 146"/>
                <a:gd name="T20" fmla="*/ 0 w 36"/>
                <a:gd name="T21" fmla="*/ 53 h 146"/>
                <a:gd name="T22" fmla="*/ 0 w 36"/>
                <a:gd name="T23" fmla="*/ 43 h 146"/>
                <a:gd name="T24" fmla="*/ 12 w 36"/>
                <a:gd name="T25" fmla="*/ 43 h 146"/>
                <a:gd name="T26" fmla="*/ 12 w 36"/>
                <a:gd name="T27" fmla="*/ 0 h 146"/>
                <a:gd name="T28" fmla="*/ 19 w 36"/>
                <a:gd name="T2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46">
                  <a:moveTo>
                    <a:pt x="19" y="0"/>
                  </a:moveTo>
                  <a:cubicBezTo>
                    <a:pt x="19" y="43"/>
                    <a:pt x="19" y="43"/>
                    <a:pt x="19" y="4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29" y="53"/>
                    <a:pt x="24" y="53"/>
                    <a:pt x="19" y="53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9" y="134"/>
                    <a:pt x="27" y="135"/>
                    <a:pt x="36" y="136"/>
                  </a:cubicBezTo>
                  <a:cubicBezTo>
                    <a:pt x="36" y="145"/>
                    <a:pt x="36" y="145"/>
                    <a:pt x="36" y="145"/>
                  </a:cubicBezTo>
                  <a:cubicBezTo>
                    <a:pt x="24" y="146"/>
                    <a:pt x="12" y="140"/>
                    <a:pt x="12" y="117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1" name="Freeform 37"/>
            <p:cNvSpPr>
              <a:spLocks noEditPoints="1"/>
            </p:cNvSpPr>
            <p:nvPr userDrawn="1"/>
          </p:nvSpPr>
          <p:spPr bwMode="auto">
            <a:xfrm>
              <a:off x="2402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2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9" y="93"/>
                    <a:pt x="22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8" name="Freeform 44"/>
            <p:cNvSpPr>
              <a:spLocks noEditPoints="1"/>
            </p:cNvSpPr>
            <p:nvPr userDrawn="1"/>
          </p:nvSpPr>
          <p:spPr bwMode="auto">
            <a:xfrm>
              <a:off x="4516" y="2593"/>
              <a:ext cx="362" cy="647"/>
            </a:xfrm>
            <a:custGeom>
              <a:avLst/>
              <a:gdLst>
                <a:gd name="T0" fmla="*/ 49 w 62"/>
                <a:gd name="T1" fmla="*/ 34 h 111"/>
                <a:gd name="T2" fmla="*/ 47 w 62"/>
                <a:gd name="T3" fmla="*/ 25 h 111"/>
                <a:gd name="T4" fmla="*/ 36 w 62"/>
                <a:gd name="T5" fmla="*/ 16 h 111"/>
                <a:gd name="T6" fmla="*/ 25 w 62"/>
                <a:gd name="T7" fmla="*/ 16 h 111"/>
                <a:gd name="T8" fmla="*/ 13 w 62"/>
                <a:gd name="T9" fmla="*/ 27 h 111"/>
                <a:gd name="T10" fmla="*/ 7 w 62"/>
                <a:gd name="T11" fmla="*/ 21 h 111"/>
                <a:gd name="T12" fmla="*/ 53 w 62"/>
                <a:gd name="T13" fmla="*/ 19 h 111"/>
                <a:gd name="T14" fmla="*/ 56 w 62"/>
                <a:gd name="T15" fmla="*/ 35 h 111"/>
                <a:gd name="T16" fmla="*/ 56 w 62"/>
                <a:gd name="T17" fmla="*/ 89 h 111"/>
                <a:gd name="T18" fmla="*/ 62 w 62"/>
                <a:gd name="T19" fmla="*/ 99 h 111"/>
                <a:gd name="T20" fmla="*/ 62 w 62"/>
                <a:gd name="T21" fmla="*/ 108 h 111"/>
                <a:gd name="T22" fmla="*/ 50 w 62"/>
                <a:gd name="T23" fmla="*/ 100 h 111"/>
                <a:gd name="T24" fmla="*/ 30 w 62"/>
                <a:gd name="T25" fmla="*/ 111 h 111"/>
                <a:gd name="T26" fmla="*/ 21 w 62"/>
                <a:gd name="T27" fmla="*/ 109 h 111"/>
                <a:gd name="T28" fmla="*/ 14 w 62"/>
                <a:gd name="T29" fmla="*/ 53 h 111"/>
                <a:gd name="T30" fmla="*/ 49 w 62"/>
                <a:gd name="T31" fmla="*/ 47 h 111"/>
                <a:gd name="T32" fmla="*/ 49 w 62"/>
                <a:gd name="T33" fmla="*/ 34 h 111"/>
                <a:gd name="T34" fmla="*/ 49 w 62"/>
                <a:gd name="T35" fmla="*/ 57 h 111"/>
                <a:gd name="T36" fmla="*/ 18 w 62"/>
                <a:gd name="T37" fmla="*/ 61 h 111"/>
                <a:gd name="T38" fmla="*/ 23 w 62"/>
                <a:gd name="T39" fmla="*/ 99 h 111"/>
                <a:gd name="T40" fmla="*/ 30 w 62"/>
                <a:gd name="T41" fmla="*/ 100 h 111"/>
                <a:gd name="T42" fmla="*/ 49 w 62"/>
                <a:gd name="T43" fmla="*/ 83 h 111"/>
                <a:gd name="T44" fmla="*/ 49 w 62"/>
                <a:gd name="T45" fmla="*/ 5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1">
                  <a:moveTo>
                    <a:pt x="49" y="34"/>
                  </a:moveTo>
                  <a:cubicBezTo>
                    <a:pt x="49" y="31"/>
                    <a:pt x="49" y="28"/>
                    <a:pt x="47" y="25"/>
                  </a:cubicBezTo>
                  <a:cubicBezTo>
                    <a:pt x="45" y="20"/>
                    <a:pt x="41" y="17"/>
                    <a:pt x="36" y="16"/>
                  </a:cubicBezTo>
                  <a:cubicBezTo>
                    <a:pt x="32" y="15"/>
                    <a:pt x="29" y="15"/>
                    <a:pt x="25" y="16"/>
                  </a:cubicBezTo>
                  <a:cubicBezTo>
                    <a:pt x="20" y="17"/>
                    <a:pt x="16" y="20"/>
                    <a:pt x="13" y="27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5" y="1"/>
                    <a:pt x="44" y="0"/>
                    <a:pt x="53" y="19"/>
                  </a:cubicBezTo>
                  <a:cubicBezTo>
                    <a:pt x="55" y="24"/>
                    <a:pt x="56" y="29"/>
                    <a:pt x="56" y="35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97"/>
                    <a:pt x="59" y="99"/>
                    <a:pt x="62" y="99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57" y="109"/>
                    <a:pt x="52" y="106"/>
                    <a:pt x="50" y="100"/>
                  </a:cubicBezTo>
                  <a:cubicBezTo>
                    <a:pt x="44" y="109"/>
                    <a:pt x="37" y="111"/>
                    <a:pt x="30" y="111"/>
                  </a:cubicBezTo>
                  <a:cubicBezTo>
                    <a:pt x="27" y="111"/>
                    <a:pt x="24" y="110"/>
                    <a:pt x="21" y="109"/>
                  </a:cubicBezTo>
                  <a:cubicBezTo>
                    <a:pt x="2" y="101"/>
                    <a:pt x="0" y="67"/>
                    <a:pt x="14" y="53"/>
                  </a:cubicBezTo>
                  <a:cubicBezTo>
                    <a:pt x="22" y="44"/>
                    <a:pt x="36" y="43"/>
                    <a:pt x="49" y="47"/>
                  </a:cubicBezTo>
                  <a:lnTo>
                    <a:pt x="49" y="34"/>
                  </a:lnTo>
                  <a:close/>
                  <a:moveTo>
                    <a:pt x="49" y="57"/>
                  </a:moveTo>
                  <a:cubicBezTo>
                    <a:pt x="39" y="53"/>
                    <a:pt x="26" y="52"/>
                    <a:pt x="18" y="61"/>
                  </a:cubicBezTo>
                  <a:cubicBezTo>
                    <a:pt x="9" y="71"/>
                    <a:pt x="10" y="93"/>
                    <a:pt x="23" y="99"/>
                  </a:cubicBezTo>
                  <a:cubicBezTo>
                    <a:pt x="25" y="100"/>
                    <a:pt x="28" y="100"/>
                    <a:pt x="30" y="100"/>
                  </a:cubicBezTo>
                  <a:cubicBezTo>
                    <a:pt x="38" y="100"/>
                    <a:pt x="49" y="96"/>
                    <a:pt x="49" y="83"/>
                  </a:cubicBezTo>
                  <a:lnTo>
                    <a:pt x="49" y="57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1832" y="2622"/>
              <a:ext cx="506" cy="601"/>
            </a:xfrm>
            <a:custGeom>
              <a:avLst/>
              <a:gdLst>
                <a:gd name="T0" fmla="*/ 47 w 87"/>
                <a:gd name="T1" fmla="*/ 103 h 103"/>
                <a:gd name="T2" fmla="*/ 40 w 87"/>
                <a:gd name="T3" fmla="*/ 103 h 103"/>
                <a:gd name="T4" fmla="*/ 40 w 87"/>
                <a:gd name="T5" fmla="*/ 28 h 103"/>
                <a:gd name="T6" fmla="*/ 24 w 87"/>
                <a:gd name="T7" fmla="*/ 9 h 103"/>
                <a:gd name="T8" fmla="*/ 7 w 87"/>
                <a:gd name="T9" fmla="*/ 31 h 103"/>
                <a:gd name="T10" fmla="*/ 7 w 87"/>
                <a:gd name="T11" fmla="*/ 103 h 103"/>
                <a:gd name="T12" fmla="*/ 0 w 87"/>
                <a:gd name="T13" fmla="*/ 103 h 103"/>
                <a:gd name="T14" fmla="*/ 0 w 87"/>
                <a:gd name="T15" fmla="*/ 1 h 103"/>
                <a:gd name="T16" fmla="*/ 7 w 87"/>
                <a:gd name="T17" fmla="*/ 1 h 103"/>
                <a:gd name="T18" fmla="*/ 7 w 87"/>
                <a:gd name="T19" fmla="*/ 11 h 103"/>
                <a:gd name="T20" fmla="*/ 25 w 87"/>
                <a:gd name="T21" fmla="*/ 0 h 103"/>
                <a:gd name="T22" fmla="*/ 44 w 87"/>
                <a:gd name="T23" fmla="*/ 15 h 103"/>
                <a:gd name="T24" fmla="*/ 64 w 87"/>
                <a:gd name="T25" fmla="*/ 1 h 103"/>
                <a:gd name="T26" fmla="*/ 87 w 87"/>
                <a:gd name="T27" fmla="*/ 29 h 103"/>
                <a:gd name="T28" fmla="*/ 87 w 87"/>
                <a:gd name="T29" fmla="*/ 103 h 103"/>
                <a:gd name="T30" fmla="*/ 80 w 87"/>
                <a:gd name="T31" fmla="*/ 103 h 103"/>
                <a:gd name="T32" fmla="*/ 80 w 87"/>
                <a:gd name="T33" fmla="*/ 29 h 103"/>
                <a:gd name="T34" fmla="*/ 64 w 87"/>
                <a:gd name="T35" fmla="*/ 10 h 103"/>
                <a:gd name="T36" fmla="*/ 47 w 87"/>
                <a:gd name="T37" fmla="*/ 28 h 103"/>
                <a:gd name="T38" fmla="*/ 47 w 87"/>
                <a:gd name="T3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" h="103">
                  <a:moveTo>
                    <a:pt x="47" y="103"/>
                  </a:moveTo>
                  <a:cubicBezTo>
                    <a:pt x="40" y="103"/>
                    <a:pt x="40" y="103"/>
                    <a:pt x="40" y="103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15"/>
                    <a:pt x="32" y="9"/>
                    <a:pt x="24" y="9"/>
                  </a:cubicBezTo>
                  <a:cubicBezTo>
                    <a:pt x="15" y="10"/>
                    <a:pt x="7" y="18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3"/>
                    <a:pt x="19" y="0"/>
                    <a:pt x="25" y="0"/>
                  </a:cubicBezTo>
                  <a:cubicBezTo>
                    <a:pt x="33" y="0"/>
                    <a:pt x="41" y="5"/>
                    <a:pt x="44" y="15"/>
                  </a:cubicBezTo>
                  <a:cubicBezTo>
                    <a:pt x="48" y="5"/>
                    <a:pt x="56" y="1"/>
                    <a:pt x="64" y="1"/>
                  </a:cubicBezTo>
                  <a:cubicBezTo>
                    <a:pt x="76" y="1"/>
                    <a:pt x="87" y="10"/>
                    <a:pt x="87" y="29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16"/>
                    <a:pt x="72" y="10"/>
                    <a:pt x="64" y="10"/>
                  </a:cubicBezTo>
                  <a:cubicBezTo>
                    <a:pt x="56" y="10"/>
                    <a:pt x="47" y="16"/>
                    <a:pt x="47" y="28"/>
                  </a:cubicBezTo>
                  <a:lnTo>
                    <a:pt x="47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2" name="Freeform 38"/>
            <p:cNvSpPr>
              <a:spLocks/>
            </p:cNvSpPr>
            <p:nvPr userDrawn="1"/>
          </p:nvSpPr>
          <p:spPr bwMode="auto">
            <a:xfrm>
              <a:off x="2822" y="2622"/>
              <a:ext cx="291" cy="612"/>
            </a:xfrm>
            <a:custGeom>
              <a:avLst/>
              <a:gdLst>
                <a:gd name="T0" fmla="*/ 50 w 50"/>
                <a:gd name="T1" fmla="*/ 76 h 105"/>
                <a:gd name="T2" fmla="*/ 35 w 50"/>
                <a:gd name="T3" fmla="*/ 102 h 105"/>
                <a:gd name="T4" fmla="*/ 35 w 50"/>
                <a:gd name="T5" fmla="*/ 102 h 105"/>
                <a:gd name="T6" fmla="*/ 15 w 50"/>
                <a:gd name="T7" fmla="*/ 102 h 105"/>
                <a:gd name="T8" fmla="*/ 0 w 50"/>
                <a:gd name="T9" fmla="*/ 76 h 105"/>
                <a:gd name="T10" fmla="*/ 0 w 50"/>
                <a:gd name="T11" fmla="*/ 29 h 105"/>
                <a:gd name="T12" fmla="*/ 15 w 50"/>
                <a:gd name="T13" fmla="*/ 2 h 105"/>
                <a:gd name="T14" fmla="*/ 25 w 50"/>
                <a:gd name="T15" fmla="*/ 0 h 105"/>
                <a:gd name="T16" fmla="*/ 35 w 50"/>
                <a:gd name="T17" fmla="*/ 2 h 105"/>
                <a:gd name="T18" fmla="*/ 50 w 50"/>
                <a:gd name="T19" fmla="*/ 29 h 105"/>
                <a:gd name="T20" fmla="*/ 44 w 50"/>
                <a:gd name="T21" fmla="*/ 29 h 105"/>
                <a:gd name="T22" fmla="*/ 33 w 50"/>
                <a:gd name="T23" fmla="*/ 12 h 105"/>
                <a:gd name="T24" fmla="*/ 25 w 50"/>
                <a:gd name="T25" fmla="*/ 11 h 105"/>
                <a:gd name="T26" fmla="*/ 17 w 50"/>
                <a:gd name="T27" fmla="*/ 12 h 105"/>
                <a:gd name="T28" fmla="*/ 7 w 50"/>
                <a:gd name="T29" fmla="*/ 29 h 105"/>
                <a:gd name="T30" fmla="*/ 7 w 50"/>
                <a:gd name="T31" fmla="*/ 76 h 105"/>
                <a:gd name="T32" fmla="*/ 17 w 50"/>
                <a:gd name="T33" fmla="*/ 92 h 105"/>
                <a:gd name="T34" fmla="*/ 33 w 50"/>
                <a:gd name="T35" fmla="*/ 92 h 105"/>
                <a:gd name="T36" fmla="*/ 33 w 50"/>
                <a:gd name="T37" fmla="*/ 92 h 105"/>
                <a:gd name="T38" fmla="*/ 44 w 50"/>
                <a:gd name="T39" fmla="*/ 76 h 105"/>
                <a:gd name="T40" fmla="*/ 50 w 50"/>
                <a:gd name="T41" fmla="*/ 7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105">
                  <a:moveTo>
                    <a:pt x="50" y="76"/>
                  </a:moveTo>
                  <a:cubicBezTo>
                    <a:pt x="50" y="90"/>
                    <a:pt x="44" y="99"/>
                    <a:pt x="35" y="102"/>
                  </a:cubicBezTo>
                  <a:cubicBezTo>
                    <a:pt x="35" y="102"/>
                    <a:pt x="35" y="102"/>
                    <a:pt x="35" y="102"/>
                  </a:cubicBezTo>
                  <a:cubicBezTo>
                    <a:pt x="29" y="105"/>
                    <a:pt x="22" y="105"/>
                    <a:pt x="15" y="102"/>
                  </a:cubicBezTo>
                  <a:cubicBezTo>
                    <a:pt x="7" y="99"/>
                    <a:pt x="0" y="90"/>
                    <a:pt x="0" y="7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18" y="1"/>
                    <a:pt x="22" y="0"/>
                    <a:pt x="25" y="0"/>
                  </a:cubicBezTo>
                  <a:cubicBezTo>
                    <a:pt x="28" y="0"/>
                    <a:pt x="32" y="1"/>
                    <a:pt x="35" y="2"/>
                  </a:cubicBezTo>
                  <a:cubicBezTo>
                    <a:pt x="44" y="6"/>
                    <a:pt x="50" y="15"/>
                    <a:pt x="50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0"/>
                    <a:pt x="39" y="15"/>
                    <a:pt x="33" y="12"/>
                  </a:cubicBezTo>
                  <a:cubicBezTo>
                    <a:pt x="31" y="11"/>
                    <a:pt x="28" y="11"/>
                    <a:pt x="25" y="11"/>
                  </a:cubicBezTo>
                  <a:cubicBezTo>
                    <a:pt x="22" y="11"/>
                    <a:pt x="20" y="11"/>
                    <a:pt x="17" y="12"/>
                  </a:cubicBezTo>
                  <a:cubicBezTo>
                    <a:pt x="12" y="14"/>
                    <a:pt x="7" y="19"/>
                    <a:pt x="7" y="29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7" y="85"/>
                    <a:pt x="12" y="90"/>
                    <a:pt x="17" y="92"/>
                  </a:cubicBezTo>
                  <a:cubicBezTo>
                    <a:pt x="22" y="95"/>
                    <a:pt x="28" y="95"/>
                    <a:pt x="33" y="92"/>
                  </a:cubicBezTo>
                  <a:cubicBezTo>
                    <a:pt x="33" y="92"/>
                    <a:pt x="33" y="92"/>
                    <a:pt x="33" y="92"/>
                  </a:cubicBezTo>
                  <a:cubicBezTo>
                    <a:pt x="39" y="90"/>
                    <a:pt x="44" y="85"/>
                    <a:pt x="44" y="76"/>
                  </a:cubicBezTo>
                  <a:lnTo>
                    <a:pt x="50" y="76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5" name="Freeform 41"/>
            <p:cNvSpPr>
              <a:spLocks noEditPoints="1"/>
            </p:cNvSpPr>
            <p:nvPr userDrawn="1"/>
          </p:nvSpPr>
          <p:spPr bwMode="auto">
            <a:xfrm>
              <a:off x="3573" y="2622"/>
              <a:ext cx="326" cy="606"/>
            </a:xfrm>
            <a:custGeom>
              <a:avLst/>
              <a:gdLst>
                <a:gd name="T0" fmla="*/ 7 w 56"/>
                <a:gd name="T1" fmla="*/ 75 h 104"/>
                <a:gd name="T2" fmla="*/ 8 w 56"/>
                <a:gd name="T3" fmla="*/ 84 h 104"/>
                <a:gd name="T4" fmla="*/ 20 w 56"/>
                <a:gd name="T5" fmla="*/ 93 h 104"/>
                <a:gd name="T6" fmla="*/ 30 w 56"/>
                <a:gd name="T7" fmla="*/ 93 h 104"/>
                <a:gd name="T8" fmla="*/ 43 w 56"/>
                <a:gd name="T9" fmla="*/ 82 h 104"/>
                <a:gd name="T10" fmla="*/ 49 w 56"/>
                <a:gd name="T11" fmla="*/ 88 h 104"/>
                <a:gd name="T12" fmla="*/ 31 w 56"/>
                <a:gd name="T13" fmla="*/ 103 h 104"/>
                <a:gd name="T14" fmla="*/ 19 w 56"/>
                <a:gd name="T15" fmla="*/ 103 h 104"/>
                <a:gd name="T16" fmla="*/ 3 w 56"/>
                <a:gd name="T17" fmla="*/ 90 h 104"/>
                <a:gd name="T18" fmla="*/ 0 w 56"/>
                <a:gd name="T19" fmla="*/ 74 h 104"/>
                <a:gd name="T20" fmla="*/ 0 w 56"/>
                <a:gd name="T21" fmla="*/ 28 h 104"/>
                <a:gd name="T22" fmla="*/ 15 w 56"/>
                <a:gd name="T23" fmla="*/ 2 h 104"/>
                <a:gd name="T24" fmla="*/ 35 w 56"/>
                <a:gd name="T25" fmla="*/ 2 h 104"/>
                <a:gd name="T26" fmla="*/ 39 w 56"/>
                <a:gd name="T27" fmla="*/ 59 h 104"/>
                <a:gd name="T28" fmla="*/ 7 w 56"/>
                <a:gd name="T29" fmla="*/ 64 h 104"/>
                <a:gd name="T30" fmla="*/ 7 w 56"/>
                <a:gd name="T31" fmla="*/ 75 h 104"/>
                <a:gd name="T32" fmla="*/ 7 w 56"/>
                <a:gd name="T33" fmla="*/ 55 h 104"/>
                <a:gd name="T34" fmla="*/ 36 w 56"/>
                <a:gd name="T35" fmla="*/ 50 h 104"/>
                <a:gd name="T36" fmla="*/ 33 w 56"/>
                <a:gd name="T37" fmla="*/ 12 h 104"/>
                <a:gd name="T38" fmla="*/ 17 w 56"/>
                <a:gd name="T39" fmla="*/ 12 h 104"/>
                <a:gd name="T40" fmla="*/ 7 w 56"/>
                <a:gd name="T41" fmla="*/ 28 h 104"/>
                <a:gd name="T42" fmla="*/ 7 w 56"/>
                <a:gd name="T43" fmla="*/ 5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104">
                  <a:moveTo>
                    <a:pt x="7" y="75"/>
                  </a:moveTo>
                  <a:cubicBezTo>
                    <a:pt x="7" y="78"/>
                    <a:pt x="7" y="81"/>
                    <a:pt x="8" y="84"/>
                  </a:cubicBezTo>
                  <a:cubicBezTo>
                    <a:pt x="11" y="88"/>
                    <a:pt x="15" y="92"/>
                    <a:pt x="20" y="93"/>
                  </a:cubicBezTo>
                  <a:cubicBezTo>
                    <a:pt x="23" y="94"/>
                    <a:pt x="27" y="94"/>
                    <a:pt x="30" y="93"/>
                  </a:cubicBezTo>
                  <a:cubicBezTo>
                    <a:pt x="35" y="92"/>
                    <a:pt x="40" y="89"/>
                    <a:pt x="43" y="82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97"/>
                    <a:pt x="38" y="102"/>
                    <a:pt x="31" y="103"/>
                  </a:cubicBezTo>
                  <a:cubicBezTo>
                    <a:pt x="27" y="104"/>
                    <a:pt x="23" y="104"/>
                    <a:pt x="19" y="103"/>
                  </a:cubicBezTo>
                  <a:cubicBezTo>
                    <a:pt x="13" y="102"/>
                    <a:pt x="6" y="97"/>
                    <a:pt x="3" y="90"/>
                  </a:cubicBezTo>
                  <a:cubicBezTo>
                    <a:pt x="1" y="85"/>
                    <a:pt x="0" y="80"/>
                    <a:pt x="0" y="7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4"/>
                    <a:pt x="7" y="6"/>
                    <a:pt x="15" y="2"/>
                  </a:cubicBezTo>
                  <a:cubicBezTo>
                    <a:pt x="22" y="0"/>
                    <a:pt x="29" y="0"/>
                    <a:pt x="35" y="2"/>
                  </a:cubicBezTo>
                  <a:cubicBezTo>
                    <a:pt x="53" y="10"/>
                    <a:pt x="56" y="46"/>
                    <a:pt x="39" y="59"/>
                  </a:cubicBezTo>
                  <a:cubicBezTo>
                    <a:pt x="30" y="67"/>
                    <a:pt x="16" y="64"/>
                    <a:pt x="7" y="64"/>
                  </a:cubicBezTo>
                  <a:lnTo>
                    <a:pt x="7" y="75"/>
                  </a:lnTo>
                  <a:close/>
                  <a:moveTo>
                    <a:pt x="7" y="55"/>
                  </a:moveTo>
                  <a:cubicBezTo>
                    <a:pt x="13" y="55"/>
                    <a:pt x="27" y="57"/>
                    <a:pt x="36" y="50"/>
                  </a:cubicBezTo>
                  <a:cubicBezTo>
                    <a:pt x="47" y="42"/>
                    <a:pt x="45" y="17"/>
                    <a:pt x="33" y="12"/>
                  </a:cubicBezTo>
                  <a:cubicBezTo>
                    <a:pt x="28" y="10"/>
                    <a:pt x="22" y="10"/>
                    <a:pt x="17" y="12"/>
                  </a:cubicBezTo>
                  <a:cubicBezTo>
                    <a:pt x="11" y="15"/>
                    <a:pt x="7" y="20"/>
                    <a:pt x="7" y="28"/>
                  </a:cubicBezTo>
                  <a:lnTo>
                    <a:pt x="7" y="55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6" name="Freeform 42"/>
            <p:cNvSpPr>
              <a:spLocks/>
            </p:cNvSpPr>
            <p:nvPr userDrawn="1"/>
          </p:nvSpPr>
          <p:spPr bwMode="auto">
            <a:xfrm>
              <a:off x="3934" y="2622"/>
              <a:ext cx="297" cy="601"/>
            </a:xfrm>
            <a:custGeom>
              <a:avLst/>
              <a:gdLst>
                <a:gd name="T0" fmla="*/ 44 w 51"/>
                <a:gd name="T1" fmla="*/ 103 h 103"/>
                <a:gd name="T2" fmla="*/ 44 w 51"/>
                <a:gd name="T3" fmla="*/ 29 h 103"/>
                <a:gd name="T4" fmla="*/ 26 w 51"/>
                <a:gd name="T5" fmla="*/ 10 h 103"/>
                <a:gd name="T6" fmla="*/ 7 w 51"/>
                <a:gd name="T7" fmla="*/ 31 h 103"/>
                <a:gd name="T8" fmla="*/ 7 w 51"/>
                <a:gd name="T9" fmla="*/ 103 h 103"/>
                <a:gd name="T10" fmla="*/ 0 w 51"/>
                <a:gd name="T11" fmla="*/ 103 h 103"/>
                <a:gd name="T12" fmla="*/ 0 w 51"/>
                <a:gd name="T13" fmla="*/ 1 h 103"/>
                <a:gd name="T14" fmla="*/ 7 w 51"/>
                <a:gd name="T15" fmla="*/ 1 h 103"/>
                <a:gd name="T16" fmla="*/ 7 w 51"/>
                <a:gd name="T17" fmla="*/ 11 h 103"/>
                <a:gd name="T18" fmla="*/ 26 w 51"/>
                <a:gd name="T19" fmla="*/ 0 h 103"/>
                <a:gd name="T20" fmla="*/ 51 w 51"/>
                <a:gd name="T21" fmla="*/ 29 h 103"/>
                <a:gd name="T22" fmla="*/ 51 w 51"/>
                <a:gd name="T23" fmla="*/ 103 h 103"/>
                <a:gd name="T24" fmla="*/ 44 w 51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5" y="10"/>
                    <a:pt x="26" y="10"/>
                  </a:cubicBezTo>
                  <a:cubicBezTo>
                    <a:pt x="17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6" y="0"/>
                  </a:cubicBezTo>
                  <a:cubicBezTo>
                    <a:pt x="38" y="0"/>
                    <a:pt x="51" y="9"/>
                    <a:pt x="51" y="29"/>
                  </a:cubicBezTo>
                  <a:cubicBezTo>
                    <a:pt x="51" y="103"/>
                    <a:pt x="51" y="103"/>
                    <a:pt x="51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9" name="Freeform 45"/>
            <p:cNvSpPr>
              <a:spLocks/>
            </p:cNvSpPr>
            <p:nvPr userDrawn="1"/>
          </p:nvSpPr>
          <p:spPr bwMode="auto">
            <a:xfrm>
              <a:off x="4953" y="2622"/>
              <a:ext cx="291" cy="601"/>
            </a:xfrm>
            <a:custGeom>
              <a:avLst/>
              <a:gdLst>
                <a:gd name="T0" fmla="*/ 44 w 50"/>
                <a:gd name="T1" fmla="*/ 103 h 103"/>
                <a:gd name="T2" fmla="*/ 44 w 50"/>
                <a:gd name="T3" fmla="*/ 29 h 103"/>
                <a:gd name="T4" fmla="*/ 25 w 50"/>
                <a:gd name="T5" fmla="*/ 10 h 103"/>
                <a:gd name="T6" fmla="*/ 7 w 50"/>
                <a:gd name="T7" fmla="*/ 31 h 103"/>
                <a:gd name="T8" fmla="*/ 7 w 50"/>
                <a:gd name="T9" fmla="*/ 103 h 103"/>
                <a:gd name="T10" fmla="*/ 0 w 50"/>
                <a:gd name="T11" fmla="*/ 103 h 103"/>
                <a:gd name="T12" fmla="*/ 0 w 50"/>
                <a:gd name="T13" fmla="*/ 1 h 103"/>
                <a:gd name="T14" fmla="*/ 7 w 50"/>
                <a:gd name="T15" fmla="*/ 1 h 103"/>
                <a:gd name="T16" fmla="*/ 7 w 50"/>
                <a:gd name="T17" fmla="*/ 11 h 103"/>
                <a:gd name="T18" fmla="*/ 25 w 50"/>
                <a:gd name="T19" fmla="*/ 0 h 103"/>
                <a:gd name="T20" fmla="*/ 50 w 50"/>
                <a:gd name="T21" fmla="*/ 29 h 103"/>
                <a:gd name="T22" fmla="*/ 50 w 50"/>
                <a:gd name="T23" fmla="*/ 103 h 103"/>
                <a:gd name="T24" fmla="*/ 44 w 50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103">
                  <a:moveTo>
                    <a:pt x="44" y="103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17"/>
                    <a:pt x="34" y="10"/>
                    <a:pt x="25" y="10"/>
                  </a:cubicBezTo>
                  <a:cubicBezTo>
                    <a:pt x="16" y="10"/>
                    <a:pt x="7" y="17"/>
                    <a:pt x="7" y="31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12" y="2"/>
                    <a:pt x="19" y="0"/>
                    <a:pt x="25" y="0"/>
                  </a:cubicBezTo>
                  <a:cubicBezTo>
                    <a:pt x="38" y="0"/>
                    <a:pt x="50" y="9"/>
                    <a:pt x="50" y="29"/>
                  </a:cubicBezTo>
                  <a:cubicBezTo>
                    <a:pt x="50" y="103"/>
                    <a:pt x="50" y="103"/>
                    <a:pt x="50" y="103"/>
                  </a:cubicBezTo>
                  <a:lnTo>
                    <a:pt x="44" y="103"/>
                  </a:lnTo>
                  <a:close/>
                </a:path>
              </a:pathLst>
            </a:custGeom>
            <a:solidFill>
              <a:srgbClr val="7F84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grpSp>
        <p:nvGrpSpPr>
          <p:cNvPr id="2" name="Group 8"/>
          <p:cNvGrpSpPr>
            <a:grpSpLocks noChangeAspect="1"/>
          </p:cNvGrpSpPr>
          <p:nvPr userDrawn="1"/>
        </p:nvGrpSpPr>
        <p:grpSpPr bwMode="auto">
          <a:xfrm>
            <a:off x="10208146" y="5766392"/>
            <a:ext cx="1649421" cy="887653"/>
            <a:chOff x="4458" y="2489"/>
            <a:chExt cx="1022" cy="550"/>
          </a:xfrm>
        </p:grpSpPr>
        <p:sp>
          <p:nvSpPr>
            <p:cNvPr id="8" name="Freeform 12"/>
            <p:cNvSpPr>
              <a:spLocks noEditPoints="1"/>
            </p:cNvSpPr>
            <p:nvPr userDrawn="1"/>
          </p:nvSpPr>
          <p:spPr bwMode="auto">
            <a:xfrm>
              <a:off x="4458" y="2489"/>
              <a:ext cx="517" cy="320"/>
            </a:xfrm>
            <a:custGeom>
              <a:avLst/>
              <a:gdLst>
                <a:gd name="T0" fmla="*/ 1280 w 4081"/>
                <a:gd name="T1" fmla="*/ 2149 h 2517"/>
                <a:gd name="T2" fmla="*/ 1557 w 4081"/>
                <a:gd name="T3" fmla="*/ 2392 h 2517"/>
                <a:gd name="T4" fmla="*/ 1280 w 4081"/>
                <a:gd name="T5" fmla="*/ 2149 h 2517"/>
                <a:gd name="T6" fmla="*/ 1136 w 4081"/>
                <a:gd name="T7" fmla="*/ 2284 h 2517"/>
                <a:gd name="T8" fmla="*/ 1082 w 4081"/>
                <a:gd name="T9" fmla="*/ 2094 h 2517"/>
                <a:gd name="T10" fmla="*/ 948 w 4081"/>
                <a:gd name="T11" fmla="*/ 2190 h 2517"/>
                <a:gd name="T12" fmla="*/ 1136 w 4081"/>
                <a:gd name="T13" fmla="*/ 2284 h 2517"/>
                <a:gd name="T14" fmla="*/ 524 w 4081"/>
                <a:gd name="T15" fmla="*/ 1811 h 2517"/>
                <a:gd name="T16" fmla="*/ 702 w 4081"/>
                <a:gd name="T17" fmla="*/ 2172 h 2517"/>
                <a:gd name="T18" fmla="*/ 524 w 4081"/>
                <a:gd name="T19" fmla="*/ 1811 h 2517"/>
                <a:gd name="T20" fmla="*/ 526 w 4081"/>
                <a:gd name="T21" fmla="*/ 1307 h 2517"/>
                <a:gd name="T22" fmla="*/ 559 w 4081"/>
                <a:gd name="T23" fmla="*/ 1513 h 2517"/>
                <a:gd name="T24" fmla="*/ 653 w 4081"/>
                <a:gd name="T25" fmla="*/ 1160 h 2517"/>
                <a:gd name="T26" fmla="*/ 526 w 4081"/>
                <a:gd name="T27" fmla="*/ 1307 h 2517"/>
                <a:gd name="T28" fmla="*/ 871 w 4081"/>
                <a:gd name="T29" fmla="*/ 1374 h 2517"/>
                <a:gd name="T30" fmla="*/ 882 w 4081"/>
                <a:gd name="T31" fmla="*/ 1723 h 2517"/>
                <a:gd name="T32" fmla="*/ 871 w 4081"/>
                <a:gd name="T33" fmla="*/ 1374 h 2517"/>
                <a:gd name="T34" fmla="*/ 1600 w 4081"/>
                <a:gd name="T35" fmla="*/ 344 h 2517"/>
                <a:gd name="T36" fmla="*/ 1560 w 4081"/>
                <a:gd name="T37" fmla="*/ 379 h 2517"/>
                <a:gd name="T38" fmla="*/ 1837 w 4081"/>
                <a:gd name="T39" fmla="*/ 332 h 2517"/>
                <a:gd name="T40" fmla="*/ 1600 w 4081"/>
                <a:gd name="T41" fmla="*/ 344 h 2517"/>
                <a:gd name="T42" fmla="*/ 1114 w 4081"/>
                <a:gd name="T43" fmla="*/ 561 h 2517"/>
                <a:gd name="T44" fmla="*/ 1418 w 4081"/>
                <a:gd name="T45" fmla="*/ 420 h 2517"/>
                <a:gd name="T46" fmla="*/ 1114 w 4081"/>
                <a:gd name="T47" fmla="*/ 561 h 2517"/>
                <a:gd name="T48" fmla="*/ 1453 w 4081"/>
                <a:gd name="T49" fmla="*/ 582 h 2517"/>
                <a:gd name="T50" fmla="*/ 1259 w 4081"/>
                <a:gd name="T51" fmla="*/ 676 h 2517"/>
                <a:gd name="T52" fmla="*/ 1405 w 4081"/>
                <a:gd name="T53" fmla="*/ 651 h 2517"/>
                <a:gd name="T54" fmla="*/ 1453 w 4081"/>
                <a:gd name="T55" fmla="*/ 582 h 2517"/>
                <a:gd name="T56" fmla="*/ 912 w 4081"/>
                <a:gd name="T57" fmla="*/ 1018 h 2517"/>
                <a:gd name="T58" fmla="*/ 1053 w 4081"/>
                <a:gd name="T59" fmla="*/ 995 h 2517"/>
                <a:gd name="T60" fmla="*/ 912 w 4081"/>
                <a:gd name="T61" fmla="*/ 1018 h 2517"/>
                <a:gd name="T62" fmla="*/ 871 w 4081"/>
                <a:gd name="T63" fmla="*/ 724 h 2517"/>
                <a:gd name="T64" fmla="*/ 777 w 4081"/>
                <a:gd name="T65" fmla="*/ 817 h 2517"/>
                <a:gd name="T66" fmla="*/ 937 w 4081"/>
                <a:gd name="T67" fmla="*/ 825 h 2517"/>
                <a:gd name="T68" fmla="*/ 871 w 4081"/>
                <a:gd name="T69" fmla="*/ 724 h 2517"/>
                <a:gd name="T70" fmla="*/ 1064 w 4081"/>
                <a:gd name="T71" fmla="*/ 1215 h 2517"/>
                <a:gd name="T72" fmla="*/ 1104 w 4081"/>
                <a:gd name="T73" fmla="*/ 1345 h 2517"/>
                <a:gd name="T74" fmla="*/ 1179 w 4081"/>
                <a:gd name="T75" fmla="*/ 1037 h 2517"/>
                <a:gd name="T76" fmla="*/ 1064 w 4081"/>
                <a:gd name="T77" fmla="*/ 1215 h 2517"/>
                <a:gd name="T78" fmla="*/ 1078 w 4081"/>
                <a:gd name="T79" fmla="*/ 1767 h 2517"/>
                <a:gd name="T80" fmla="*/ 1195 w 4081"/>
                <a:gd name="T81" fmla="*/ 1717 h 2517"/>
                <a:gd name="T82" fmla="*/ 1078 w 4081"/>
                <a:gd name="T83" fmla="*/ 1767 h 2517"/>
                <a:gd name="T84" fmla="*/ 339 w 4081"/>
                <a:gd name="T85" fmla="*/ 1073 h 2517"/>
                <a:gd name="T86" fmla="*/ 1357 w 4081"/>
                <a:gd name="T87" fmla="*/ 200 h 2517"/>
                <a:gd name="T88" fmla="*/ 4081 w 4081"/>
                <a:gd name="T89" fmla="*/ 1257 h 2517"/>
                <a:gd name="T90" fmla="*/ 1260 w 4081"/>
                <a:gd name="T91" fmla="*/ 336 h 2517"/>
                <a:gd name="T92" fmla="*/ 497 w 4081"/>
                <a:gd name="T93" fmla="*/ 2517 h 2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81" h="2517">
                  <a:moveTo>
                    <a:pt x="1280" y="2149"/>
                  </a:moveTo>
                  <a:lnTo>
                    <a:pt x="1280" y="2149"/>
                  </a:lnTo>
                  <a:cubicBezTo>
                    <a:pt x="1255" y="2174"/>
                    <a:pt x="1292" y="2247"/>
                    <a:pt x="1359" y="2314"/>
                  </a:cubicBezTo>
                  <a:cubicBezTo>
                    <a:pt x="1419" y="2375"/>
                    <a:pt x="1535" y="2439"/>
                    <a:pt x="1557" y="2392"/>
                  </a:cubicBezTo>
                  <a:cubicBezTo>
                    <a:pt x="1567" y="2369"/>
                    <a:pt x="1536" y="2315"/>
                    <a:pt x="1459" y="2238"/>
                  </a:cubicBezTo>
                  <a:cubicBezTo>
                    <a:pt x="1382" y="2161"/>
                    <a:pt x="1305" y="2124"/>
                    <a:pt x="1280" y="2149"/>
                  </a:cubicBezTo>
                  <a:lnTo>
                    <a:pt x="1280" y="2149"/>
                  </a:lnTo>
                  <a:close/>
                  <a:moveTo>
                    <a:pt x="1136" y="2284"/>
                  </a:moveTo>
                  <a:lnTo>
                    <a:pt x="1136" y="2284"/>
                  </a:lnTo>
                  <a:cubicBezTo>
                    <a:pt x="1173" y="2256"/>
                    <a:pt x="1142" y="2170"/>
                    <a:pt x="1082" y="2094"/>
                  </a:cubicBezTo>
                  <a:cubicBezTo>
                    <a:pt x="1013" y="2005"/>
                    <a:pt x="937" y="1957"/>
                    <a:pt x="900" y="1985"/>
                  </a:cubicBezTo>
                  <a:cubicBezTo>
                    <a:pt x="863" y="2014"/>
                    <a:pt x="885" y="2107"/>
                    <a:pt x="948" y="2190"/>
                  </a:cubicBezTo>
                  <a:cubicBezTo>
                    <a:pt x="1010" y="2272"/>
                    <a:pt x="1095" y="2317"/>
                    <a:pt x="1136" y="2284"/>
                  </a:cubicBezTo>
                  <a:lnTo>
                    <a:pt x="1136" y="2284"/>
                  </a:lnTo>
                  <a:close/>
                  <a:moveTo>
                    <a:pt x="524" y="1811"/>
                  </a:moveTo>
                  <a:lnTo>
                    <a:pt x="524" y="1811"/>
                  </a:lnTo>
                  <a:cubicBezTo>
                    <a:pt x="479" y="1833"/>
                    <a:pt x="487" y="1931"/>
                    <a:pt x="532" y="2034"/>
                  </a:cubicBezTo>
                  <a:cubicBezTo>
                    <a:pt x="583" y="2150"/>
                    <a:pt x="659" y="2189"/>
                    <a:pt x="702" y="2172"/>
                  </a:cubicBezTo>
                  <a:cubicBezTo>
                    <a:pt x="749" y="2154"/>
                    <a:pt x="749" y="2064"/>
                    <a:pt x="695" y="1954"/>
                  </a:cubicBezTo>
                  <a:cubicBezTo>
                    <a:pt x="645" y="1854"/>
                    <a:pt x="569" y="1789"/>
                    <a:pt x="524" y="1811"/>
                  </a:cubicBezTo>
                  <a:lnTo>
                    <a:pt x="524" y="1811"/>
                  </a:lnTo>
                  <a:close/>
                  <a:moveTo>
                    <a:pt x="526" y="1307"/>
                  </a:moveTo>
                  <a:lnTo>
                    <a:pt x="526" y="1307"/>
                  </a:lnTo>
                  <a:cubicBezTo>
                    <a:pt x="496" y="1408"/>
                    <a:pt x="509" y="1499"/>
                    <a:pt x="559" y="1513"/>
                  </a:cubicBezTo>
                  <a:cubicBezTo>
                    <a:pt x="608" y="1526"/>
                    <a:pt x="657" y="1469"/>
                    <a:pt x="683" y="1361"/>
                  </a:cubicBezTo>
                  <a:cubicBezTo>
                    <a:pt x="707" y="1261"/>
                    <a:pt x="696" y="1174"/>
                    <a:pt x="653" y="1160"/>
                  </a:cubicBezTo>
                  <a:cubicBezTo>
                    <a:pt x="610" y="1145"/>
                    <a:pt x="555" y="1209"/>
                    <a:pt x="526" y="1307"/>
                  </a:cubicBezTo>
                  <a:lnTo>
                    <a:pt x="526" y="1307"/>
                  </a:lnTo>
                  <a:close/>
                  <a:moveTo>
                    <a:pt x="871" y="1374"/>
                  </a:moveTo>
                  <a:lnTo>
                    <a:pt x="871" y="1374"/>
                  </a:lnTo>
                  <a:cubicBezTo>
                    <a:pt x="823" y="1382"/>
                    <a:pt x="793" y="1454"/>
                    <a:pt x="795" y="1552"/>
                  </a:cubicBezTo>
                  <a:cubicBezTo>
                    <a:pt x="798" y="1650"/>
                    <a:pt x="840" y="1728"/>
                    <a:pt x="882" y="1723"/>
                  </a:cubicBezTo>
                  <a:cubicBezTo>
                    <a:pt x="927" y="1718"/>
                    <a:pt x="952" y="1645"/>
                    <a:pt x="952" y="1547"/>
                  </a:cubicBezTo>
                  <a:cubicBezTo>
                    <a:pt x="952" y="1454"/>
                    <a:pt x="916" y="1368"/>
                    <a:pt x="871" y="1374"/>
                  </a:cubicBezTo>
                  <a:lnTo>
                    <a:pt x="871" y="1374"/>
                  </a:lnTo>
                  <a:close/>
                  <a:moveTo>
                    <a:pt x="1600" y="344"/>
                  </a:moveTo>
                  <a:lnTo>
                    <a:pt x="1600" y="344"/>
                  </a:lnTo>
                  <a:cubicBezTo>
                    <a:pt x="1574" y="353"/>
                    <a:pt x="1559" y="369"/>
                    <a:pt x="1560" y="379"/>
                  </a:cubicBezTo>
                  <a:cubicBezTo>
                    <a:pt x="1563" y="411"/>
                    <a:pt x="1699" y="395"/>
                    <a:pt x="1778" y="369"/>
                  </a:cubicBezTo>
                  <a:cubicBezTo>
                    <a:pt x="1816" y="357"/>
                    <a:pt x="1836" y="343"/>
                    <a:pt x="1837" y="332"/>
                  </a:cubicBezTo>
                  <a:cubicBezTo>
                    <a:pt x="1840" y="290"/>
                    <a:pt x="1662" y="322"/>
                    <a:pt x="1600" y="344"/>
                  </a:cubicBezTo>
                  <a:lnTo>
                    <a:pt x="1600" y="344"/>
                  </a:lnTo>
                  <a:close/>
                  <a:moveTo>
                    <a:pt x="1114" y="561"/>
                  </a:moveTo>
                  <a:lnTo>
                    <a:pt x="1114" y="561"/>
                  </a:lnTo>
                  <a:cubicBezTo>
                    <a:pt x="1140" y="600"/>
                    <a:pt x="1278" y="534"/>
                    <a:pt x="1350" y="496"/>
                  </a:cubicBezTo>
                  <a:cubicBezTo>
                    <a:pt x="1397" y="471"/>
                    <a:pt x="1437" y="439"/>
                    <a:pt x="1418" y="420"/>
                  </a:cubicBezTo>
                  <a:cubicBezTo>
                    <a:pt x="1394" y="396"/>
                    <a:pt x="1318" y="415"/>
                    <a:pt x="1202" y="473"/>
                  </a:cubicBezTo>
                  <a:cubicBezTo>
                    <a:pt x="1146" y="501"/>
                    <a:pt x="1101" y="541"/>
                    <a:pt x="1114" y="561"/>
                  </a:cubicBezTo>
                  <a:lnTo>
                    <a:pt x="1114" y="561"/>
                  </a:lnTo>
                  <a:close/>
                  <a:moveTo>
                    <a:pt x="1453" y="582"/>
                  </a:moveTo>
                  <a:lnTo>
                    <a:pt x="1453" y="582"/>
                  </a:lnTo>
                  <a:cubicBezTo>
                    <a:pt x="1457" y="540"/>
                    <a:pt x="1358" y="575"/>
                    <a:pt x="1259" y="676"/>
                  </a:cubicBezTo>
                  <a:cubicBezTo>
                    <a:pt x="1241" y="694"/>
                    <a:pt x="1188" y="761"/>
                    <a:pt x="1211" y="776"/>
                  </a:cubicBezTo>
                  <a:cubicBezTo>
                    <a:pt x="1243" y="796"/>
                    <a:pt x="1361" y="696"/>
                    <a:pt x="1405" y="651"/>
                  </a:cubicBezTo>
                  <a:cubicBezTo>
                    <a:pt x="1439" y="617"/>
                    <a:pt x="1452" y="595"/>
                    <a:pt x="1453" y="582"/>
                  </a:cubicBezTo>
                  <a:lnTo>
                    <a:pt x="1453" y="582"/>
                  </a:lnTo>
                  <a:close/>
                  <a:moveTo>
                    <a:pt x="912" y="1018"/>
                  </a:moveTo>
                  <a:lnTo>
                    <a:pt x="912" y="1018"/>
                  </a:lnTo>
                  <a:cubicBezTo>
                    <a:pt x="881" y="1079"/>
                    <a:pt x="871" y="1157"/>
                    <a:pt x="905" y="1166"/>
                  </a:cubicBezTo>
                  <a:cubicBezTo>
                    <a:pt x="942" y="1176"/>
                    <a:pt x="1013" y="1078"/>
                    <a:pt x="1053" y="995"/>
                  </a:cubicBezTo>
                  <a:cubicBezTo>
                    <a:pt x="1074" y="953"/>
                    <a:pt x="1098" y="891"/>
                    <a:pt x="1082" y="871"/>
                  </a:cubicBezTo>
                  <a:cubicBezTo>
                    <a:pt x="1042" y="822"/>
                    <a:pt x="952" y="939"/>
                    <a:pt x="912" y="1018"/>
                  </a:cubicBezTo>
                  <a:lnTo>
                    <a:pt x="912" y="1018"/>
                  </a:lnTo>
                  <a:close/>
                  <a:moveTo>
                    <a:pt x="871" y="724"/>
                  </a:moveTo>
                  <a:lnTo>
                    <a:pt x="871" y="724"/>
                  </a:lnTo>
                  <a:cubicBezTo>
                    <a:pt x="841" y="746"/>
                    <a:pt x="803" y="784"/>
                    <a:pt x="777" y="817"/>
                  </a:cubicBezTo>
                  <a:cubicBezTo>
                    <a:pt x="718" y="891"/>
                    <a:pt x="720" y="943"/>
                    <a:pt x="762" y="950"/>
                  </a:cubicBezTo>
                  <a:cubicBezTo>
                    <a:pt x="798" y="957"/>
                    <a:pt x="880" y="897"/>
                    <a:pt x="937" y="825"/>
                  </a:cubicBezTo>
                  <a:cubicBezTo>
                    <a:pt x="998" y="757"/>
                    <a:pt x="1009" y="704"/>
                    <a:pt x="974" y="687"/>
                  </a:cubicBezTo>
                  <a:cubicBezTo>
                    <a:pt x="952" y="677"/>
                    <a:pt x="929" y="681"/>
                    <a:pt x="871" y="724"/>
                  </a:cubicBezTo>
                  <a:lnTo>
                    <a:pt x="871" y="724"/>
                  </a:lnTo>
                  <a:close/>
                  <a:moveTo>
                    <a:pt x="1064" y="1215"/>
                  </a:moveTo>
                  <a:lnTo>
                    <a:pt x="1064" y="1215"/>
                  </a:lnTo>
                  <a:cubicBezTo>
                    <a:pt x="1051" y="1270"/>
                    <a:pt x="1053" y="1374"/>
                    <a:pt x="1104" y="1345"/>
                  </a:cubicBezTo>
                  <a:cubicBezTo>
                    <a:pt x="1148" y="1320"/>
                    <a:pt x="1177" y="1206"/>
                    <a:pt x="1189" y="1146"/>
                  </a:cubicBezTo>
                  <a:cubicBezTo>
                    <a:pt x="1195" y="1119"/>
                    <a:pt x="1201" y="1046"/>
                    <a:pt x="1179" y="1037"/>
                  </a:cubicBezTo>
                  <a:cubicBezTo>
                    <a:pt x="1128" y="1015"/>
                    <a:pt x="1087" y="1122"/>
                    <a:pt x="1064" y="1215"/>
                  </a:cubicBezTo>
                  <a:lnTo>
                    <a:pt x="1064" y="1215"/>
                  </a:lnTo>
                  <a:close/>
                  <a:moveTo>
                    <a:pt x="1078" y="1767"/>
                  </a:moveTo>
                  <a:lnTo>
                    <a:pt x="1078" y="1767"/>
                  </a:lnTo>
                  <a:cubicBezTo>
                    <a:pt x="1092" y="1831"/>
                    <a:pt x="1151" y="1954"/>
                    <a:pt x="1203" y="1925"/>
                  </a:cubicBezTo>
                  <a:cubicBezTo>
                    <a:pt x="1252" y="1897"/>
                    <a:pt x="1204" y="1744"/>
                    <a:pt x="1195" y="1717"/>
                  </a:cubicBezTo>
                  <a:cubicBezTo>
                    <a:pt x="1177" y="1661"/>
                    <a:pt x="1140" y="1570"/>
                    <a:pt x="1091" y="1585"/>
                  </a:cubicBezTo>
                  <a:cubicBezTo>
                    <a:pt x="1052" y="1596"/>
                    <a:pt x="1064" y="1705"/>
                    <a:pt x="1078" y="1767"/>
                  </a:cubicBezTo>
                  <a:lnTo>
                    <a:pt x="1078" y="1767"/>
                  </a:lnTo>
                  <a:close/>
                  <a:moveTo>
                    <a:pt x="339" y="1073"/>
                  </a:moveTo>
                  <a:lnTo>
                    <a:pt x="339" y="1073"/>
                  </a:lnTo>
                  <a:cubicBezTo>
                    <a:pt x="354" y="1038"/>
                    <a:pt x="633" y="367"/>
                    <a:pt x="1357" y="200"/>
                  </a:cubicBezTo>
                  <a:cubicBezTo>
                    <a:pt x="1575" y="135"/>
                    <a:pt x="2066" y="95"/>
                    <a:pt x="2403" y="125"/>
                  </a:cubicBezTo>
                  <a:cubicBezTo>
                    <a:pt x="3685" y="237"/>
                    <a:pt x="3958" y="852"/>
                    <a:pt x="4081" y="1257"/>
                  </a:cubicBezTo>
                  <a:lnTo>
                    <a:pt x="3095" y="1257"/>
                  </a:lnTo>
                  <a:cubicBezTo>
                    <a:pt x="2847" y="558"/>
                    <a:pt x="2152" y="0"/>
                    <a:pt x="1260" y="336"/>
                  </a:cubicBezTo>
                  <a:cubicBezTo>
                    <a:pt x="416" y="654"/>
                    <a:pt x="10" y="1733"/>
                    <a:pt x="630" y="2517"/>
                  </a:cubicBezTo>
                  <a:lnTo>
                    <a:pt x="497" y="2517"/>
                  </a:lnTo>
                  <a:cubicBezTo>
                    <a:pt x="0" y="1834"/>
                    <a:pt x="323" y="1109"/>
                    <a:pt x="339" y="1073"/>
                  </a:cubicBezTo>
                  <a:close/>
                </a:path>
              </a:pathLst>
            </a:custGeom>
            <a:solidFill>
              <a:srgbClr val="EC114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7" name="Freeform 11"/>
            <p:cNvSpPr>
              <a:spLocks noEditPoints="1"/>
            </p:cNvSpPr>
            <p:nvPr userDrawn="1"/>
          </p:nvSpPr>
          <p:spPr bwMode="auto">
            <a:xfrm>
              <a:off x="4747" y="2731"/>
              <a:ext cx="733" cy="124"/>
            </a:xfrm>
            <a:custGeom>
              <a:avLst/>
              <a:gdLst>
                <a:gd name="T0" fmla="*/ 5032 w 5777"/>
                <a:gd name="T1" fmla="*/ 960 h 975"/>
                <a:gd name="T2" fmla="*/ 5169 w 5777"/>
                <a:gd name="T3" fmla="*/ 0 h 975"/>
                <a:gd name="T4" fmla="*/ 5574 w 5777"/>
                <a:gd name="T5" fmla="*/ 621 h 975"/>
                <a:gd name="T6" fmla="*/ 5578 w 5777"/>
                <a:gd name="T7" fmla="*/ 15 h 975"/>
                <a:gd name="T8" fmla="*/ 5777 w 5777"/>
                <a:gd name="T9" fmla="*/ 839 h 975"/>
                <a:gd name="T10" fmla="*/ 5502 w 5777"/>
                <a:gd name="T11" fmla="*/ 834 h 975"/>
                <a:gd name="T12" fmla="*/ 5231 w 5777"/>
                <a:gd name="T13" fmla="*/ 285 h 975"/>
                <a:gd name="T14" fmla="*/ 5032 w 5777"/>
                <a:gd name="T15" fmla="*/ 960 h 975"/>
                <a:gd name="T16" fmla="*/ 4403 w 5777"/>
                <a:gd name="T17" fmla="*/ 0 h 975"/>
                <a:gd name="T18" fmla="*/ 3921 w 5777"/>
                <a:gd name="T19" fmla="*/ 488 h 975"/>
                <a:gd name="T20" fmla="*/ 4884 w 5777"/>
                <a:gd name="T21" fmla="*/ 488 h 975"/>
                <a:gd name="T22" fmla="*/ 4403 w 5777"/>
                <a:gd name="T23" fmla="*/ 0 h 975"/>
                <a:gd name="T24" fmla="*/ 4403 w 5777"/>
                <a:gd name="T25" fmla="*/ 194 h 975"/>
                <a:gd name="T26" fmla="*/ 4403 w 5777"/>
                <a:gd name="T27" fmla="*/ 780 h 975"/>
                <a:gd name="T28" fmla="*/ 4403 w 5777"/>
                <a:gd name="T29" fmla="*/ 194 h 975"/>
                <a:gd name="T30" fmla="*/ 3577 w 5777"/>
                <a:gd name="T31" fmla="*/ 15 h 975"/>
                <a:gd name="T32" fmla="*/ 3776 w 5777"/>
                <a:gd name="T33" fmla="*/ 15 h 975"/>
                <a:gd name="T34" fmla="*/ 3577 w 5777"/>
                <a:gd name="T35" fmla="*/ 960 h 975"/>
                <a:gd name="T36" fmla="*/ 3158 w 5777"/>
                <a:gd name="T37" fmla="*/ 15 h 975"/>
                <a:gd name="T38" fmla="*/ 3158 w 5777"/>
                <a:gd name="T39" fmla="*/ 650 h 975"/>
                <a:gd name="T40" fmla="*/ 3410 w 5777"/>
                <a:gd name="T41" fmla="*/ 761 h 975"/>
                <a:gd name="T42" fmla="*/ 3212 w 5777"/>
                <a:gd name="T43" fmla="*/ 960 h 975"/>
                <a:gd name="T44" fmla="*/ 2958 w 5777"/>
                <a:gd name="T45" fmla="*/ 15 h 975"/>
                <a:gd name="T46" fmla="*/ 3158 w 5777"/>
                <a:gd name="T47" fmla="*/ 15 h 975"/>
                <a:gd name="T48" fmla="*/ 2718 w 5777"/>
                <a:gd name="T49" fmla="*/ 204 h 975"/>
                <a:gd name="T50" fmla="*/ 2356 w 5777"/>
                <a:gd name="T51" fmla="*/ 400 h 975"/>
                <a:gd name="T52" fmla="*/ 2718 w 5777"/>
                <a:gd name="T53" fmla="*/ 575 h 975"/>
                <a:gd name="T54" fmla="*/ 2597 w 5777"/>
                <a:gd name="T55" fmla="*/ 771 h 975"/>
                <a:gd name="T56" fmla="*/ 2718 w 5777"/>
                <a:gd name="T57" fmla="*/ 960 h 975"/>
                <a:gd name="T58" fmla="*/ 2151 w 5777"/>
                <a:gd name="T59" fmla="*/ 488 h 975"/>
                <a:gd name="T60" fmla="*/ 2718 w 5777"/>
                <a:gd name="T61" fmla="*/ 15 h 975"/>
                <a:gd name="T62" fmla="*/ 2718 w 5777"/>
                <a:gd name="T63" fmla="*/ 204 h 975"/>
                <a:gd name="T64" fmla="*/ 1699 w 5777"/>
                <a:gd name="T65" fmla="*/ 204 h 975"/>
                <a:gd name="T66" fmla="*/ 1494 w 5777"/>
                <a:gd name="T67" fmla="*/ 15 h 975"/>
                <a:gd name="T68" fmla="*/ 2104 w 5777"/>
                <a:gd name="T69" fmla="*/ 204 h 975"/>
                <a:gd name="T70" fmla="*/ 1899 w 5777"/>
                <a:gd name="T71" fmla="*/ 960 h 975"/>
                <a:gd name="T72" fmla="*/ 1699 w 5777"/>
                <a:gd name="T73" fmla="*/ 204 h 975"/>
                <a:gd name="T74" fmla="*/ 1421 w 5777"/>
                <a:gd name="T75" fmla="*/ 204 h 975"/>
                <a:gd name="T76" fmla="*/ 1275 w 5777"/>
                <a:gd name="T77" fmla="*/ 204 h 975"/>
                <a:gd name="T78" fmla="*/ 1275 w 5777"/>
                <a:gd name="T79" fmla="*/ 771 h 975"/>
                <a:gd name="T80" fmla="*/ 1421 w 5777"/>
                <a:gd name="T81" fmla="*/ 960 h 975"/>
                <a:gd name="T82" fmla="*/ 819 w 5777"/>
                <a:gd name="T83" fmla="*/ 488 h 975"/>
                <a:gd name="T84" fmla="*/ 1421 w 5777"/>
                <a:gd name="T85" fmla="*/ 15 h 975"/>
                <a:gd name="T86" fmla="*/ 1421 w 5777"/>
                <a:gd name="T87" fmla="*/ 204 h 975"/>
                <a:gd name="T88" fmla="*/ 0 w 5777"/>
                <a:gd name="T89" fmla="*/ 960 h 975"/>
                <a:gd name="T90" fmla="*/ 338 w 5777"/>
                <a:gd name="T91" fmla="*/ 0 h 975"/>
                <a:gd name="T92" fmla="*/ 678 w 5777"/>
                <a:gd name="T93" fmla="*/ 960 h 975"/>
                <a:gd name="T94" fmla="*/ 467 w 5777"/>
                <a:gd name="T95" fmla="*/ 619 h 975"/>
                <a:gd name="T96" fmla="*/ 262 w 5777"/>
                <a:gd name="T97" fmla="*/ 435 h 975"/>
                <a:gd name="T98" fmla="*/ 467 w 5777"/>
                <a:gd name="T99" fmla="*/ 310 h 975"/>
                <a:gd name="T100" fmla="*/ 210 w 5777"/>
                <a:gd name="T101" fmla="*/ 310 h 975"/>
                <a:gd name="T102" fmla="*/ 0 w 5777"/>
                <a:gd name="T103" fmla="*/ 960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77" h="975">
                  <a:moveTo>
                    <a:pt x="5032" y="960"/>
                  </a:moveTo>
                  <a:lnTo>
                    <a:pt x="5032" y="960"/>
                  </a:lnTo>
                  <a:lnTo>
                    <a:pt x="5032" y="137"/>
                  </a:lnTo>
                  <a:cubicBezTo>
                    <a:pt x="5032" y="58"/>
                    <a:pt x="5084" y="0"/>
                    <a:pt x="5169" y="0"/>
                  </a:cubicBezTo>
                  <a:cubicBezTo>
                    <a:pt x="5265" y="0"/>
                    <a:pt x="5309" y="72"/>
                    <a:pt x="5342" y="136"/>
                  </a:cubicBezTo>
                  <a:lnTo>
                    <a:pt x="5574" y="621"/>
                  </a:lnTo>
                  <a:lnTo>
                    <a:pt x="5578" y="621"/>
                  </a:lnTo>
                  <a:lnTo>
                    <a:pt x="5578" y="15"/>
                  </a:lnTo>
                  <a:lnTo>
                    <a:pt x="5777" y="15"/>
                  </a:lnTo>
                  <a:lnTo>
                    <a:pt x="5777" y="839"/>
                  </a:lnTo>
                  <a:cubicBezTo>
                    <a:pt x="5777" y="912"/>
                    <a:pt x="5750" y="975"/>
                    <a:pt x="5665" y="975"/>
                  </a:cubicBezTo>
                  <a:cubicBezTo>
                    <a:pt x="5582" y="975"/>
                    <a:pt x="5547" y="924"/>
                    <a:pt x="5502" y="834"/>
                  </a:cubicBezTo>
                  <a:lnTo>
                    <a:pt x="5234" y="282"/>
                  </a:lnTo>
                  <a:lnTo>
                    <a:pt x="5231" y="285"/>
                  </a:lnTo>
                  <a:lnTo>
                    <a:pt x="5231" y="960"/>
                  </a:lnTo>
                  <a:lnTo>
                    <a:pt x="5032" y="960"/>
                  </a:lnTo>
                  <a:lnTo>
                    <a:pt x="5032" y="960"/>
                  </a:lnTo>
                  <a:close/>
                  <a:moveTo>
                    <a:pt x="4403" y="0"/>
                  </a:moveTo>
                  <a:lnTo>
                    <a:pt x="4403" y="0"/>
                  </a:lnTo>
                  <a:cubicBezTo>
                    <a:pt x="4120" y="0"/>
                    <a:pt x="3921" y="223"/>
                    <a:pt x="3921" y="488"/>
                  </a:cubicBezTo>
                  <a:cubicBezTo>
                    <a:pt x="3921" y="752"/>
                    <a:pt x="4120" y="975"/>
                    <a:pt x="4403" y="975"/>
                  </a:cubicBezTo>
                  <a:cubicBezTo>
                    <a:pt x="4685" y="975"/>
                    <a:pt x="4884" y="752"/>
                    <a:pt x="4884" y="488"/>
                  </a:cubicBezTo>
                  <a:cubicBezTo>
                    <a:pt x="4884" y="223"/>
                    <a:pt x="4685" y="0"/>
                    <a:pt x="4403" y="0"/>
                  </a:cubicBezTo>
                  <a:lnTo>
                    <a:pt x="4403" y="0"/>
                  </a:lnTo>
                  <a:close/>
                  <a:moveTo>
                    <a:pt x="4403" y="194"/>
                  </a:moveTo>
                  <a:lnTo>
                    <a:pt x="4403" y="194"/>
                  </a:lnTo>
                  <a:cubicBezTo>
                    <a:pt x="4580" y="194"/>
                    <a:pt x="4685" y="330"/>
                    <a:pt x="4685" y="488"/>
                  </a:cubicBezTo>
                  <a:cubicBezTo>
                    <a:pt x="4685" y="645"/>
                    <a:pt x="4580" y="780"/>
                    <a:pt x="4403" y="780"/>
                  </a:cubicBezTo>
                  <a:cubicBezTo>
                    <a:pt x="4226" y="780"/>
                    <a:pt x="4120" y="645"/>
                    <a:pt x="4120" y="488"/>
                  </a:cubicBezTo>
                  <a:cubicBezTo>
                    <a:pt x="4120" y="330"/>
                    <a:pt x="4226" y="194"/>
                    <a:pt x="4403" y="194"/>
                  </a:cubicBezTo>
                  <a:lnTo>
                    <a:pt x="4403" y="194"/>
                  </a:lnTo>
                  <a:close/>
                  <a:moveTo>
                    <a:pt x="3577" y="15"/>
                  </a:moveTo>
                  <a:lnTo>
                    <a:pt x="3577" y="15"/>
                  </a:lnTo>
                  <a:lnTo>
                    <a:pt x="3776" y="15"/>
                  </a:lnTo>
                  <a:lnTo>
                    <a:pt x="3776" y="960"/>
                  </a:lnTo>
                  <a:lnTo>
                    <a:pt x="3577" y="960"/>
                  </a:lnTo>
                  <a:lnTo>
                    <a:pt x="3577" y="15"/>
                  </a:lnTo>
                  <a:close/>
                  <a:moveTo>
                    <a:pt x="3158" y="15"/>
                  </a:moveTo>
                  <a:lnTo>
                    <a:pt x="3158" y="15"/>
                  </a:lnTo>
                  <a:lnTo>
                    <a:pt x="3158" y="650"/>
                  </a:lnTo>
                  <a:cubicBezTo>
                    <a:pt x="3158" y="736"/>
                    <a:pt x="3193" y="761"/>
                    <a:pt x="3260" y="761"/>
                  </a:cubicBezTo>
                  <a:lnTo>
                    <a:pt x="3410" y="761"/>
                  </a:lnTo>
                  <a:lnTo>
                    <a:pt x="3410" y="960"/>
                  </a:lnTo>
                  <a:lnTo>
                    <a:pt x="3212" y="960"/>
                  </a:lnTo>
                  <a:cubicBezTo>
                    <a:pt x="3061" y="960"/>
                    <a:pt x="2958" y="884"/>
                    <a:pt x="2958" y="677"/>
                  </a:cubicBezTo>
                  <a:lnTo>
                    <a:pt x="2958" y="15"/>
                  </a:lnTo>
                  <a:lnTo>
                    <a:pt x="3158" y="15"/>
                  </a:lnTo>
                  <a:lnTo>
                    <a:pt x="3158" y="15"/>
                  </a:lnTo>
                  <a:close/>
                  <a:moveTo>
                    <a:pt x="2718" y="204"/>
                  </a:moveTo>
                  <a:lnTo>
                    <a:pt x="2718" y="204"/>
                  </a:lnTo>
                  <a:lnTo>
                    <a:pt x="2597" y="204"/>
                  </a:lnTo>
                  <a:cubicBezTo>
                    <a:pt x="2445" y="204"/>
                    <a:pt x="2372" y="309"/>
                    <a:pt x="2356" y="400"/>
                  </a:cubicBezTo>
                  <a:lnTo>
                    <a:pt x="2718" y="400"/>
                  </a:lnTo>
                  <a:lnTo>
                    <a:pt x="2718" y="575"/>
                  </a:lnTo>
                  <a:lnTo>
                    <a:pt x="2356" y="575"/>
                  </a:lnTo>
                  <a:cubicBezTo>
                    <a:pt x="2372" y="666"/>
                    <a:pt x="2445" y="771"/>
                    <a:pt x="2597" y="771"/>
                  </a:cubicBezTo>
                  <a:lnTo>
                    <a:pt x="2718" y="771"/>
                  </a:lnTo>
                  <a:lnTo>
                    <a:pt x="2718" y="960"/>
                  </a:lnTo>
                  <a:lnTo>
                    <a:pt x="2615" y="960"/>
                  </a:lnTo>
                  <a:cubicBezTo>
                    <a:pt x="2291" y="960"/>
                    <a:pt x="2151" y="720"/>
                    <a:pt x="2151" y="488"/>
                  </a:cubicBezTo>
                  <a:cubicBezTo>
                    <a:pt x="2151" y="255"/>
                    <a:pt x="2291" y="15"/>
                    <a:pt x="2615" y="15"/>
                  </a:cubicBezTo>
                  <a:lnTo>
                    <a:pt x="2718" y="15"/>
                  </a:lnTo>
                  <a:lnTo>
                    <a:pt x="2718" y="204"/>
                  </a:lnTo>
                  <a:lnTo>
                    <a:pt x="2718" y="204"/>
                  </a:lnTo>
                  <a:close/>
                  <a:moveTo>
                    <a:pt x="1699" y="204"/>
                  </a:moveTo>
                  <a:lnTo>
                    <a:pt x="1699" y="204"/>
                  </a:lnTo>
                  <a:lnTo>
                    <a:pt x="1494" y="204"/>
                  </a:lnTo>
                  <a:lnTo>
                    <a:pt x="1494" y="15"/>
                  </a:lnTo>
                  <a:lnTo>
                    <a:pt x="2104" y="15"/>
                  </a:lnTo>
                  <a:lnTo>
                    <a:pt x="2104" y="204"/>
                  </a:lnTo>
                  <a:lnTo>
                    <a:pt x="1899" y="204"/>
                  </a:lnTo>
                  <a:lnTo>
                    <a:pt x="1899" y="960"/>
                  </a:lnTo>
                  <a:lnTo>
                    <a:pt x="1699" y="960"/>
                  </a:lnTo>
                  <a:lnTo>
                    <a:pt x="1699" y="204"/>
                  </a:lnTo>
                  <a:lnTo>
                    <a:pt x="1699" y="204"/>
                  </a:lnTo>
                  <a:close/>
                  <a:moveTo>
                    <a:pt x="1421" y="204"/>
                  </a:moveTo>
                  <a:lnTo>
                    <a:pt x="1421" y="204"/>
                  </a:lnTo>
                  <a:lnTo>
                    <a:pt x="1275" y="204"/>
                  </a:lnTo>
                  <a:cubicBezTo>
                    <a:pt x="1137" y="204"/>
                    <a:pt x="1029" y="354"/>
                    <a:pt x="1029" y="488"/>
                  </a:cubicBezTo>
                  <a:cubicBezTo>
                    <a:pt x="1029" y="621"/>
                    <a:pt x="1137" y="771"/>
                    <a:pt x="1275" y="771"/>
                  </a:cubicBezTo>
                  <a:lnTo>
                    <a:pt x="1421" y="771"/>
                  </a:lnTo>
                  <a:lnTo>
                    <a:pt x="1421" y="960"/>
                  </a:lnTo>
                  <a:lnTo>
                    <a:pt x="1264" y="960"/>
                  </a:lnTo>
                  <a:cubicBezTo>
                    <a:pt x="1037" y="960"/>
                    <a:pt x="819" y="774"/>
                    <a:pt x="819" y="488"/>
                  </a:cubicBezTo>
                  <a:cubicBezTo>
                    <a:pt x="819" y="201"/>
                    <a:pt x="1037" y="15"/>
                    <a:pt x="1264" y="15"/>
                  </a:cubicBezTo>
                  <a:lnTo>
                    <a:pt x="1421" y="15"/>
                  </a:lnTo>
                  <a:lnTo>
                    <a:pt x="1421" y="204"/>
                  </a:lnTo>
                  <a:lnTo>
                    <a:pt x="1421" y="204"/>
                  </a:lnTo>
                  <a:close/>
                  <a:moveTo>
                    <a:pt x="0" y="960"/>
                  </a:moveTo>
                  <a:lnTo>
                    <a:pt x="0" y="960"/>
                  </a:lnTo>
                  <a:lnTo>
                    <a:pt x="0" y="344"/>
                  </a:lnTo>
                  <a:cubicBezTo>
                    <a:pt x="0" y="181"/>
                    <a:pt x="93" y="0"/>
                    <a:pt x="338" y="0"/>
                  </a:cubicBezTo>
                  <a:cubicBezTo>
                    <a:pt x="583" y="0"/>
                    <a:pt x="678" y="181"/>
                    <a:pt x="678" y="344"/>
                  </a:cubicBezTo>
                  <a:lnTo>
                    <a:pt x="678" y="960"/>
                  </a:lnTo>
                  <a:lnTo>
                    <a:pt x="467" y="960"/>
                  </a:lnTo>
                  <a:lnTo>
                    <a:pt x="467" y="619"/>
                  </a:lnTo>
                  <a:lnTo>
                    <a:pt x="262" y="619"/>
                  </a:lnTo>
                  <a:lnTo>
                    <a:pt x="262" y="435"/>
                  </a:lnTo>
                  <a:lnTo>
                    <a:pt x="467" y="435"/>
                  </a:lnTo>
                  <a:lnTo>
                    <a:pt x="467" y="310"/>
                  </a:lnTo>
                  <a:cubicBezTo>
                    <a:pt x="467" y="240"/>
                    <a:pt x="435" y="184"/>
                    <a:pt x="338" y="184"/>
                  </a:cubicBezTo>
                  <a:cubicBezTo>
                    <a:pt x="241" y="184"/>
                    <a:pt x="210" y="240"/>
                    <a:pt x="210" y="310"/>
                  </a:cubicBezTo>
                  <a:lnTo>
                    <a:pt x="210" y="960"/>
                  </a:lnTo>
                  <a:lnTo>
                    <a:pt x="0" y="96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5" name="Freeform 10"/>
            <p:cNvSpPr>
              <a:spLocks noEditPoints="1"/>
            </p:cNvSpPr>
            <p:nvPr userDrawn="1"/>
          </p:nvSpPr>
          <p:spPr bwMode="auto">
            <a:xfrm>
              <a:off x="4747" y="2914"/>
              <a:ext cx="733" cy="98"/>
            </a:xfrm>
            <a:custGeom>
              <a:avLst/>
              <a:gdLst>
                <a:gd name="T0" fmla="*/ 277 w 5777"/>
                <a:gd name="T1" fmla="*/ 688 h 773"/>
                <a:gd name="T2" fmla="*/ 97 w 5777"/>
                <a:gd name="T3" fmla="*/ 732 h 773"/>
                <a:gd name="T4" fmla="*/ 97 w 5777"/>
                <a:gd name="T5" fmla="*/ 565 h 773"/>
                <a:gd name="T6" fmla="*/ 5580 w 5777"/>
                <a:gd name="T7" fmla="*/ 6 h 773"/>
                <a:gd name="T8" fmla="*/ 5654 w 5777"/>
                <a:gd name="T9" fmla="*/ 202 h 773"/>
                <a:gd name="T10" fmla="*/ 5515 w 5777"/>
                <a:gd name="T11" fmla="*/ 132 h 773"/>
                <a:gd name="T12" fmla="*/ 5394 w 5777"/>
                <a:gd name="T13" fmla="*/ 202 h 773"/>
                <a:gd name="T14" fmla="*/ 5275 w 5777"/>
                <a:gd name="T15" fmla="*/ 53 h 773"/>
                <a:gd name="T16" fmla="*/ 5229 w 5777"/>
                <a:gd name="T17" fmla="*/ 202 h 773"/>
                <a:gd name="T18" fmla="*/ 5094 w 5777"/>
                <a:gd name="T19" fmla="*/ 102 h 773"/>
                <a:gd name="T20" fmla="*/ 5173 w 5777"/>
                <a:gd name="T21" fmla="*/ 31 h 773"/>
                <a:gd name="T22" fmla="*/ 5016 w 5777"/>
                <a:gd name="T23" fmla="*/ 6 h 773"/>
                <a:gd name="T24" fmla="*/ 4924 w 5777"/>
                <a:gd name="T25" fmla="*/ 70 h 773"/>
                <a:gd name="T26" fmla="*/ 4757 w 5777"/>
                <a:gd name="T27" fmla="*/ 6 h 773"/>
                <a:gd name="T28" fmla="*/ 4660 w 5777"/>
                <a:gd name="T29" fmla="*/ 55 h 773"/>
                <a:gd name="T30" fmla="*/ 4626 w 5777"/>
                <a:gd name="T31" fmla="*/ 208 h 773"/>
                <a:gd name="T32" fmla="*/ 4626 w 5777"/>
                <a:gd name="T33" fmla="*/ 208 h 773"/>
                <a:gd name="T34" fmla="*/ 4515 w 5777"/>
                <a:gd name="T35" fmla="*/ 51 h 773"/>
                <a:gd name="T36" fmla="*/ 4516 w 5777"/>
                <a:gd name="T37" fmla="*/ 158 h 773"/>
                <a:gd name="T38" fmla="*/ 4119 w 5777"/>
                <a:gd name="T39" fmla="*/ 6 h 773"/>
                <a:gd name="T40" fmla="*/ 3999 w 5777"/>
                <a:gd name="T41" fmla="*/ 53 h 773"/>
                <a:gd name="T42" fmla="*/ 3901 w 5777"/>
                <a:gd name="T43" fmla="*/ 202 h 773"/>
                <a:gd name="T44" fmla="*/ 3718 w 5777"/>
                <a:gd name="T45" fmla="*/ 104 h 773"/>
                <a:gd name="T46" fmla="*/ 3815 w 5777"/>
                <a:gd name="T47" fmla="*/ 167 h 773"/>
                <a:gd name="T48" fmla="*/ 3637 w 5777"/>
                <a:gd name="T49" fmla="*/ 202 h 773"/>
                <a:gd name="T50" fmla="*/ 3515 w 5777"/>
                <a:gd name="T51" fmla="*/ 202 h 773"/>
                <a:gd name="T52" fmla="*/ 3432 w 5777"/>
                <a:gd name="T53" fmla="*/ 171 h 773"/>
                <a:gd name="T54" fmla="*/ 3360 w 5777"/>
                <a:gd name="T55" fmla="*/ 166 h 773"/>
                <a:gd name="T56" fmla="*/ 3240 w 5777"/>
                <a:gd name="T57" fmla="*/ 44 h 773"/>
                <a:gd name="T58" fmla="*/ 3249 w 5777"/>
                <a:gd name="T59" fmla="*/ 202 h 773"/>
                <a:gd name="T60" fmla="*/ 2892 w 5777"/>
                <a:gd name="T61" fmla="*/ 104 h 773"/>
                <a:gd name="T62" fmla="*/ 2990 w 5777"/>
                <a:gd name="T63" fmla="*/ 167 h 773"/>
                <a:gd name="T64" fmla="*/ 2815 w 5777"/>
                <a:gd name="T65" fmla="*/ 136 h 773"/>
                <a:gd name="T66" fmla="*/ 2754 w 5777"/>
                <a:gd name="T67" fmla="*/ 171 h 773"/>
                <a:gd name="T68" fmla="*/ 2671 w 5777"/>
                <a:gd name="T69" fmla="*/ 202 h 773"/>
                <a:gd name="T70" fmla="*/ 2506 w 5777"/>
                <a:gd name="T71" fmla="*/ 76 h 773"/>
                <a:gd name="T72" fmla="*/ 2563 w 5777"/>
                <a:gd name="T73" fmla="*/ 148 h 773"/>
                <a:gd name="T74" fmla="*/ 2343 w 5777"/>
                <a:gd name="T75" fmla="*/ 96 h 773"/>
                <a:gd name="T76" fmla="*/ 2406 w 5777"/>
                <a:gd name="T77" fmla="*/ 26 h 773"/>
                <a:gd name="T78" fmla="*/ 2253 w 5777"/>
                <a:gd name="T79" fmla="*/ 202 h 773"/>
                <a:gd name="T80" fmla="*/ 2134 w 5777"/>
                <a:gd name="T81" fmla="*/ 53 h 773"/>
                <a:gd name="T82" fmla="*/ 2088 w 5777"/>
                <a:gd name="T83" fmla="*/ 202 h 773"/>
                <a:gd name="T84" fmla="*/ 1966 w 5777"/>
                <a:gd name="T85" fmla="*/ 202 h 773"/>
                <a:gd name="T86" fmla="*/ 1966 w 5777"/>
                <a:gd name="T87" fmla="*/ 77 h 773"/>
                <a:gd name="T88" fmla="*/ 1771 w 5777"/>
                <a:gd name="T89" fmla="*/ 71 h 773"/>
                <a:gd name="T90" fmla="*/ 1820 w 5777"/>
                <a:gd name="T91" fmla="*/ 71 h 773"/>
                <a:gd name="T92" fmla="*/ 1373 w 5777"/>
                <a:gd name="T93" fmla="*/ 6 h 773"/>
                <a:gd name="T94" fmla="*/ 1490 w 5777"/>
                <a:gd name="T95" fmla="*/ 202 h 773"/>
                <a:gd name="T96" fmla="*/ 1189 w 5777"/>
                <a:gd name="T97" fmla="*/ 6 h 773"/>
                <a:gd name="T98" fmla="*/ 1238 w 5777"/>
                <a:gd name="T99" fmla="*/ 164 h 773"/>
                <a:gd name="T100" fmla="*/ 1036 w 5777"/>
                <a:gd name="T101" fmla="*/ 159 h 773"/>
                <a:gd name="T102" fmla="*/ 1120 w 5777"/>
                <a:gd name="T103" fmla="*/ 64 h 773"/>
                <a:gd name="T104" fmla="*/ 1069 w 5777"/>
                <a:gd name="T105" fmla="*/ 207 h 773"/>
                <a:gd name="T106" fmla="*/ 916 w 5777"/>
                <a:gd name="T107" fmla="*/ 145 h 773"/>
                <a:gd name="T108" fmla="*/ 875 w 5777"/>
                <a:gd name="T109" fmla="*/ 40 h 773"/>
                <a:gd name="T110" fmla="*/ 823 w 5777"/>
                <a:gd name="T111" fmla="*/ 143 h 773"/>
                <a:gd name="T112" fmla="*/ 762 w 5777"/>
                <a:gd name="T113" fmla="*/ 6 h 773"/>
                <a:gd name="T114" fmla="*/ 596 w 5777"/>
                <a:gd name="T115" fmla="*/ 6 h 773"/>
                <a:gd name="T116" fmla="*/ 503 w 5777"/>
                <a:gd name="T117" fmla="*/ 6 h 773"/>
                <a:gd name="T118" fmla="*/ 452 w 5777"/>
                <a:gd name="T119" fmla="*/ 6 h 773"/>
                <a:gd name="T120" fmla="*/ 310 w 5777"/>
                <a:gd name="T121" fmla="*/ 202 h 773"/>
                <a:gd name="T122" fmla="*/ 97 w 5777"/>
                <a:gd name="T123" fmla="*/ 53 h 773"/>
                <a:gd name="T124" fmla="*/ 196 w 5777"/>
                <a:gd name="T125" fmla="*/ 202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77" h="773">
                  <a:moveTo>
                    <a:pt x="379" y="571"/>
                  </a:moveTo>
                  <a:lnTo>
                    <a:pt x="379" y="571"/>
                  </a:lnTo>
                  <a:lnTo>
                    <a:pt x="379" y="609"/>
                  </a:lnTo>
                  <a:lnTo>
                    <a:pt x="277" y="609"/>
                  </a:lnTo>
                  <a:lnTo>
                    <a:pt x="277" y="650"/>
                  </a:lnTo>
                  <a:lnTo>
                    <a:pt x="371" y="650"/>
                  </a:lnTo>
                  <a:lnTo>
                    <a:pt x="371" y="688"/>
                  </a:lnTo>
                  <a:lnTo>
                    <a:pt x="277" y="688"/>
                  </a:lnTo>
                  <a:lnTo>
                    <a:pt x="277" y="767"/>
                  </a:lnTo>
                  <a:lnTo>
                    <a:pt x="228" y="767"/>
                  </a:lnTo>
                  <a:lnTo>
                    <a:pt x="228" y="571"/>
                  </a:lnTo>
                  <a:lnTo>
                    <a:pt x="379" y="571"/>
                  </a:lnTo>
                  <a:lnTo>
                    <a:pt x="379" y="571"/>
                  </a:lnTo>
                  <a:close/>
                  <a:moveTo>
                    <a:pt x="147" y="674"/>
                  </a:moveTo>
                  <a:lnTo>
                    <a:pt x="147" y="674"/>
                  </a:lnTo>
                  <a:cubicBezTo>
                    <a:pt x="146" y="715"/>
                    <a:pt x="121" y="732"/>
                    <a:pt x="97" y="732"/>
                  </a:cubicBezTo>
                  <a:cubicBezTo>
                    <a:pt x="74" y="732"/>
                    <a:pt x="48" y="714"/>
                    <a:pt x="48" y="667"/>
                  </a:cubicBezTo>
                  <a:cubicBezTo>
                    <a:pt x="48" y="632"/>
                    <a:pt x="67" y="606"/>
                    <a:pt x="97" y="606"/>
                  </a:cubicBezTo>
                  <a:cubicBezTo>
                    <a:pt x="110" y="606"/>
                    <a:pt x="123" y="611"/>
                    <a:pt x="131" y="620"/>
                  </a:cubicBezTo>
                  <a:cubicBezTo>
                    <a:pt x="143" y="632"/>
                    <a:pt x="148" y="653"/>
                    <a:pt x="147" y="674"/>
                  </a:cubicBezTo>
                  <a:lnTo>
                    <a:pt x="147" y="674"/>
                  </a:lnTo>
                  <a:close/>
                  <a:moveTo>
                    <a:pt x="133" y="571"/>
                  </a:moveTo>
                  <a:lnTo>
                    <a:pt x="133" y="571"/>
                  </a:lnTo>
                  <a:cubicBezTo>
                    <a:pt x="121" y="566"/>
                    <a:pt x="108" y="565"/>
                    <a:pt x="97" y="565"/>
                  </a:cubicBezTo>
                  <a:cubicBezTo>
                    <a:pt x="33" y="565"/>
                    <a:pt x="0" y="615"/>
                    <a:pt x="0" y="668"/>
                  </a:cubicBezTo>
                  <a:cubicBezTo>
                    <a:pt x="0" y="725"/>
                    <a:pt x="35" y="773"/>
                    <a:pt x="97" y="773"/>
                  </a:cubicBezTo>
                  <a:cubicBezTo>
                    <a:pt x="118" y="773"/>
                    <a:pt x="140" y="768"/>
                    <a:pt x="159" y="752"/>
                  </a:cubicBezTo>
                  <a:cubicBezTo>
                    <a:pt x="181" y="735"/>
                    <a:pt x="197" y="704"/>
                    <a:pt x="197" y="670"/>
                  </a:cubicBezTo>
                  <a:cubicBezTo>
                    <a:pt x="197" y="657"/>
                    <a:pt x="193" y="591"/>
                    <a:pt x="133" y="571"/>
                  </a:cubicBezTo>
                  <a:lnTo>
                    <a:pt x="133" y="571"/>
                  </a:lnTo>
                  <a:close/>
                  <a:moveTo>
                    <a:pt x="5580" y="6"/>
                  </a:moveTo>
                  <a:lnTo>
                    <a:pt x="5580" y="6"/>
                  </a:lnTo>
                  <a:lnTo>
                    <a:pt x="5637" y="6"/>
                  </a:lnTo>
                  <a:lnTo>
                    <a:pt x="5679" y="73"/>
                  </a:lnTo>
                  <a:cubicBezTo>
                    <a:pt x="5682" y="68"/>
                    <a:pt x="5682" y="67"/>
                    <a:pt x="5687" y="58"/>
                  </a:cubicBezTo>
                  <a:lnTo>
                    <a:pt x="5721" y="6"/>
                  </a:lnTo>
                  <a:lnTo>
                    <a:pt x="5777" y="6"/>
                  </a:lnTo>
                  <a:lnTo>
                    <a:pt x="5703" y="109"/>
                  </a:lnTo>
                  <a:lnTo>
                    <a:pt x="5703" y="202"/>
                  </a:lnTo>
                  <a:lnTo>
                    <a:pt x="5654" y="202"/>
                  </a:lnTo>
                  <a:lnTo>
                    <a:pt x="5654" y="111"/>
                  </a:lnTo>
                  <a:lnTo>
                    <a:pt x="5580" y="6"/>
                  </a:lnTo>
                  <a:lnTo>
                    <a:pt x="5580" y="6"/>
                  </a:lnTo>
                  <a:close/>
                  <a:moveTo>
                    <a:pt x="5394" y="6"/>
                  </a:moveTo>
                  <a:lnTo>
                    <a:pt x="5394" y="6"/>
                  </a:lnTo>
                  <a:lnTo>
                    <a:pt x="5443" y="6"/>
                  </a:lnTo>
                  <a:lnTo>
                    <a:pt x="5485" y="78"/>
                  </a:lnTo>
                  <a:cubicBezTo>
                    <a:pt x="5501" y="106"/>
                    <a:pt x="5506" y="115"/>
                    <a:pt x="5515" y="132"/>
                  </a:cubicBezTo>
                  <a:lnTo>
                    <a:pt x="5513" y="6"/>
                  </a:lnTo>
                  <a:lnTo>
                    <a:pt x="5560" y="6"/>
                  </a:lnTo>
                  <a:lnTo>
                    <a:pt x="5560" y="202"/>
                  </a:lnTo>
                  <a:lnTo>
                    <a:pt x="5511" y="202"/>
                  </a:lnTo>
                  <a:lnTo>
                    <a:pt x="5475" y="140"/>
                  </a:lnTo>
                  <a:cubicBezTo>
                    <a:pt x="5457" y="111"/>
                    <a:pt x="5453" y="105"/>
                    <a:pt x="5440" y="79"/>
                  </a:cubicBezTo>
                  <a:lnTo>
                    <a:pt x="5441" y="202"/>
                  </a:lnTo>
                  <a:lnTo>
                    <a:pt x="5394" y="202"/>
                  </a:lnTo>
                  <a:lnTo>
                    <a:pt x="5394" y="6"/>
                  </a:lnTo>
                  <a:lnTo>
                    <a:pt x="5394" y="6"/>
                  </a:lnTo>
                  <a:close/>
                  <a:moveTo>
                    <a:pt x="5275" y="53"/>
                  </a:moveTo>
                  <a:lnTo>
                    <a:pt x="5275" y="53"/>
                  </a:lnTo>
                  <a:cubicBezTo>
                    <a:pt x="5272" y="63"/>
                    <a:pt x="5270" y="73"/>
                    <a:pt x="5267" y="83"/>
                  </a:cubicBezTo>
                  <a:cubicBezTo>
                    <a:pt x="5263" y="98"/>
                    <a:pt x="5255" y="121"/>
                    <a:pt x="5251" y="136"/>
                  </a:cubicBezTo>
                  <a:lnTo>
                    <a:pt x="5301" y="136"/>
                  </a:lnTo>
                  <a:lnTo>
                    <a:pt x="5275" y="53"/>
                  </a:lnTo>
                  <a:lnTo>
                    <a:pt x="5275" y="53"/>
                  </a:lnTo>
                  <a:close/>
                  <a:moveTo>
                    <a:pt x="5301" y="6"/>
                  </a:moveTo>
                  <a:lnTo>
                    <a:pt x="5301" y="6"/>
                  </a:lnTo>
                  <a:lnTo>
                    <a:pt x="5374" y="202"/>
                  </a:lnTo>
                  <a:lnTo>
                    <a:pt x="5321" y="202"/>
                  </a:lnTo>
                  <a:lnTo>
                    <a:pt x="5312" y="171"/>
                  </a:lnTo>
                  <a:lnTo>
                    <a:pt x="5239" y="171"/>
                  </a:lnTo>
                  <a:lnTo>
                    <a:pt x="5229" y="202"/>
                  </a:lnTo>
                  <a:lnTo>
                    <a:pt x="5177" y="202"/>
                  </a:lnTo>
                  <a:lnTo>
                    <a:pt x="5250" y="6"/>
                  </a:lnTo>
                  <a:lnTo>
                    <a:pt x="5301" y="6"/>
                  </a:lnTo>
                  <a:lnTo>
                    <a:pt x="5301" y="6"/>
                  </a:lnTo>
                  <a:close/>
                  <a:moveTo>
                    <a:pt x="5065" y="42"/>
                  </a:moveTo>
                  <a:lnTo>
                    <a:pt x="5065" y="42"/>
                  </a:lnTo>
                  <a:lnTo>
                    <a:pt x="5065" y="102"/>
                  </a:lnTo>
                  <a:lnTo>
                    <a:pt x="5094" y="102"/>
                  </a:lnTo>
                  <a:cubicBezTo>
                    <a:pt x="5113" y="102"/>
                    <a:pt x="5135" y="101"/>
                    <a:pt x="5135" y="71"/>
                  </a:cubicBezTo>
                  <a:cubicBezTo>
                    <a:pt x="5135" y="42"/>
                    <a:pt x="5110" y="42"/>
                    <a:pt x="5096" y="42"/>
                  </a:cubicBezTo>
                  <a:lnTo>
                    <a:pt x="5065" y="42"/>
                  </a:lnTo>
                  <a:lnTo>
                    <a:pt x="5065" y="42"/>
                  </a:lnTo>
                  <a:close/>
                  <a:moveTo>
                    <a:pt x="5016" y="6"/>
                  </a:moveTo>
                  <a:lnTo>
                    <a:pt x="5016" y="6"/>
                  </a:lnTo>
                  <a:lnTo>
                    <a:pt x="5095" y="6"/>
                  </a:lnTo>
                  <a:cubicBezTo>
                    <a:pt x="5127" y="6"/>
                    <a:pt x="5156" y="6"/>
                    <a:pt x="5173" y="31"/>
                  </a:cubicBezTo>
                  <a:cubicBezTo>
                    <a:pt x="5180" y="42"/>
                    <a:pt x="5184" y="58"/>
                    <a:pt x="5184" y="71"/>
                  </a:cubicBezTo>
                  <a:cubicBezTo>
                    <a:pt x="5184" y="82"/>
                    <a:pt x="5182" y="92"/>
                    <a:pt x="5177" y="102"/>
                  </a:cubicBezTo>
                  <a:cubicBezTo>
                    <a:pt x="5160" y="137"/>
                    <a:pt x="5124" y="138"/>
                    <a:pt x="5097" y="138"/>
                  </a:cubicBezTo>
                  <a:lnTo>
                    <a:pt x="5065" y="138"/>
                  </a:lnTo>
                  <a:lnTo>
                    <a:pt x="5065" y="202"/>
                  </a:lnTo>
                  <a:lnTo>
                    <a:pt x="5016" y="202"/>
                  </a:lnTo>
                  <a:lnTo>
                    <a:pt x="5016" y="6"/>
                  </a:lnTo>
                  <a:lnTo>
                    <a:pt x="5016" y="6"/>
                  </a:lnTo>
                  <a:close/>
                  <a:moveTo>
                    <a:pt x="4974" y="6"/>
                  </a:moveTo>
                  <a:lnTo>
                    <a:pt x="4974" y="6"/>
                  </a:lnTo>
                  <a:lnTo>
                    <a:pt x="4974" y="202"/>
                  </a:lnTo>
                  <a:lnTo>
                    <a:pt x="4927" y="202"/>
                  </a:lnTo>
                  <a:lnTo>
                    <a:pt x="4930" y="62"/>
                  </a:lnTo>
                  <a:lnTo>
                    <a:pt x="4931" y="43"/>
                  </a:lnTo>
                  <a:lnTo>
                    <a:pt x="4929" y="50"/>
                  </a:lnTo>
                  <a:cubicBezTo>
                    <a:pt x="4927" y="61"/>
                    <a:pt x="4927" y="62"/>
                    <a:pt x="4924" y="70"/>
                  </a:cubicBezTo>
                  <a:lnTo>
                    <a:pt x="4887" y="202"/>
                  </a:lnTo>
                  <a:lnTo>
                    <a:pt x="4845" y="202"/>
                  </a:lnTo>
                  <a:lnTo>
                    <a:pt x="4809" y="76"/>
                  </a:lnTo>
                  <a:lnTo>
                    <a:pt x="4801" y="41"/>
                  </a:lnTo>
                  <a:cubicBezTo>
                    <a:pt x="4801" y="56"/>
                    <a:pt x="4801" y="60"/>
                    <a:pt x="4802" y="78"/>
                  </a:cubicBezTo>
                  <a:lnTo>
                    <a:pt x="4805" y="202"/>
                  </a:lnTo>
                  <a:lnTo>
                    <a:pt x="4757" y="202"/>
                  </a:lnTo>
                  <a:lnTo>
                    <a:pt x="4757" y="6"/>
                  </a:lnTo>
                  <a:lnTo>
                    <a:pt x="4829" y="6"/>
                  </a:lnTo>
                  <a:lnTo>
                    <a:pt x="4859" y="116"/>
                  </a:lnTo>
                  <a:lnTo>
                    <a:pt x="4866" y="148"/>
                  </a:lnTo>
                  <a:cubicBezTo>
                    <a:pt x="4869" y="134"/>
                    <a:pt x="4869" y="133"/>
                    <a:pt x="4871" y="123"/>
                  </a:cubicBezTo>
                  <a:lnTo>
                    <a:pt x="4903" y="6"/>
                  </a:lnTo>
                  <a:lnTo>
                    <a:pt x="4974" y="6"/>
                  </a:lnTo>
                  <a:lnTo>
                    <a:pt x="4974" y="6"/>
                  </a:lnTo>
                  <a:close/>
                  <a:moveTo>
                    <a:pt x="4660" y="55"/>
                  </a:moveTo>
                  <a:lnTo>
                    <a:pt x="4660" y="55"/>
                  </a:lnTo>
                  <a:cubicBezTo>
                    <a:pt x="4652" y="46"/>
                    <a:pt x="4639" y="41"/>
                    <a:pt x="4626" y="41"/>
                  </a:cubicBezTo>
                  <a:cubicBezTo>
                    <a:pt x="4596" y="41"/>
                    <a:pt x="4577" y="67"/>
                    <a:pt x="4577" y="102"/>
                  </a:cubicBezTo>
                  <a:cubicBezTo>
                    <a:pt x="4577" y="149"/>
                    <a:pt x="4603" y="167"/>
                    <a:pt x="4626" y="167"/>
                  </a:cubicBezTo>
                  <a:cubicBezTo>
                    <a:pt x="4650" y="167"/>
                    <a:pt x="4675" y="150"/>
                    <a:pt x="4676" y="109"/>
                  </a:cubicBezTo>
                  <a:cubicBezTo>
                    <a:pt x="4677" y="88"/>
                    <a:pt x="4671" y="67"/>
                    <a:pt x="4660" y="55"/>
                  </a:cubicBezTo>
                  <a:lnTo>
                    <a:pt x="4660" y="55"/>
                  </a:lnTo>
                  <a:close/>
                  <a:moveTo>
                    <a:pt x="4626" y="208"/>
                  </a:moveTo>
                  <a:lnTo>
                    <a:pt x="4626" y="208"/>
                  </a:lnTo>
                  <a:cubicBezTo>
                    <a:pt x="4564" y="208"/>
                    <a:pt x="4528" y="160"/>
                    <a:pt x="4528" y="103"/>
                  </a:cubicBezTo>
                  <a:cubicBezTo>
                    <a:pt x="4528" y="50"/>
                    <a:pt x="4562" y="0"/>
                    <a:pt x="4625" y="0"/>
                  </a:cubicBezTo>
                  <a:cubicBezTo>
                    <a:pt x="4637" y="0"/>
                    <a:pt x="4649" y="1"/>
                    <a:pt x="4661" y="6"/>
                  </a:cubicBezTo>
                  <a:cubicBezTo>
                    <a:pt x="4721" y="26"/>
                    <a:pt x="4725" y="92"/>
                    <a:pt x="4725" y="105"/>
                  </a:cubicBezTo>
                  <a:cubicBezTo>
                    <a:pt x="4725" y="139"/>
                    <a:pt x="4710" y="170"/>
                    <a:pt x="4688" y="187"/>
                  </a:cubicBezTo>
                  <a:cubicBezTo>
                    <a:pt x="4669" y="203"/>
                    <a:pt x="4647" y="208"/>
                    <a:pt x="4626" y="208"/>
                  </a:cubicBezTo>
                  <a:lnTo>
                    <a:pt x="4626" y="208"/>
                  </a:lnTo>
                  <a:close/>
                  <a:moveTo>
                    <a:pt x="4516" y="158"/>
                  </a:moveTo>
                  <a:lnTo>
                    <a:pt x="4516" y="158"/>
                  </a:lnTo>
                  <a:cubicBezTo>
                    <a:pt x="4509" y="169"/>
                    <a:pt x="4502" y="180"/>
                    <a:pt x="4486" y="191"/>
                  </a:cubicBezTo>
                  <a:cubicBezTo>
                    <a:pt x="4478" y="197"/>
                    <a:pt x="4458" y="208"/>
                    <a:pt x="4431" y="208"/>
                  </a:cubicBezTo>
                  <a:cubicBezTo>
                    <a:pt x="4379" y="208"/>
                    <a:pt x="4337" y="170"/>
                    <a:pt x="4337" y="104"/>
                  </a:cubicBezTo>
                  <a:cubicBezTo>
                    <a:pt x="4337" y="46"/>
                    <a:pt x="4377" y="0"/>
                    <a:pt x="4432" y="0"/>
                  </a:cubicBezTo>
                  <a:cubicBezTo>
                    <a:pt x="4455" y="0"/>
                    <a:pt x="4475" y="7"/>
                    <a:pt x="4490" y="19"/>
                  </a:cubicBezTo>
                  <a:cubicBezTo>
                    <a:pt x="4503" y="30"/>
                    <a:pt x="4510" y="41"/>
                    <a:pt x="4515" y="51"/>
                  </a:cubicBezTo>
                  <a:lnTo>
                    <a:pt x="4476" y="70"/>
                  </a:lnTo>
                  <a:cubicBezTo>
                    <a:pt x="4473" y="64"/>
                    <a:pt x="4470" y="57"/>
                    <a:pt x="4461" y="50"/>
                  </a:cubicBezTo>
                  <a:cubicBezTo>
                    <a:pt x="4452" y="42"/>
                    <a:pt x="4443" y="40"/>
                    <a:pt x="4434" y="40"/>
                  </a:cubicBezTo>
                  <a:cubicBezTo>
                    <a:pt x="4403" y="40"/>
                    <a:pt x="4386" y="70"/>
                    <a:pt x="4386" y="102"/>
                  </a:cubicBezTo>
                  <a:cubicBezTo>
                    <a:pt x="4386" y="146"/>
                    <a:pt x="4408" y="167"/>
                    <a:pt x="4434" y="167"/>
                  </a:cubicBezTo>
                  <a:cubicBezTo>
                    <a:pt x="4460" y="167"/>
                    <a:pt x="4470" y="149"/>
                    <a:pt x="4477" y="138"/>
                  </a:cubicBezTo>
                  <a:lnTo>
                    <a:pt x="4516" y="158"/>
                  </a:lnTo>
                  <a:lnTo>
                    <a:pt x="4516" y="158"/>
                  </a:lnTo>
                  <a:close/>
                  <a:moveTo>
                    <a:pt x="4119" y="6"/>
                  </a:moveTo>
                  <a:lnTo>
                    <a:pt x="4119" y="6"/>
                  </a:lnTo>
                  <a:lnTo>
                    <a:pt x="4168" y="6"/>
                  </a:lnTo>
                  <a:lnTo>
                    <a:pt x="4168" y="161"/>
                  </a:lnTo>
                  <a:lnTo>
                    <a:pt x="4245" y="161"/>
                  </a:lnTo>
                  <a:lnTo>
                    <a:pt x="4245" y="202"/>
                  </a:lnTo>
                  <a:lnTo>
                    <a:pt x="4119" y="202"/>
                  </a:lnTo>
                  <a:lnTo>
                    <a:pt x="4119" y="6"/>
                  </a:lnTo>
                  <a:lnTo>
                    <a:pt x="4119" y="6"/>
                  </a:lnTo>
                  <a:close/>
                  <a:moveTo>
                    <a:pt x="3999" y="53"/>
                  </a:moveTo>
                  <a:lnTo>
                    <a:pt x="3999" y="53"/>
                  </a:lnTo>
                  <a:cubicBezTo>
                    <a:pt x="3996" y="63"/>
                    <a:pt x="3994" y="73"/>
                    <a:pt x="3991" y="83"/>
                  </a:cubicBezTo>
                  <a:cubicBezTo>
                    <a:pt x="3987" y="98"/>
                    <a:pt x="3979" y="121"/>
                    <a:pt x="3975" y="136"/>
                  </a:cubicBezTo>
                  <a:lnTo>
                    <a:pt x="4025" y="136"/>
                  </a:lnTo>
                  <a:lnTo>
                    <a:pt x="3999" y="53"/>
                  </a:lnTo>
                  <a:lnTo>
                    <a:pt x="3999" y="53"/>
                  </a:lnTo>
                  <a:close/>
                  <a:moveTo>
                    <a:pt x="4025" y="6"/>
                  </a:moveTo>
                  <a:lnTo>
                    <a:pt x="4025" y="6"/>
                  </a:lnTo>
                  <a:lnTo>
                    <a:pt x="4098" y="202"/>
                  </a:lnTo>
                  <a:lnTo>
                    <a:pt x="4045" y="202"/>
                  </a:lnTo>
                  <a:lnTo>
                    <a:pt x="4036" y="171"/>
                  </a:lnTo>
                  <a:lnTo>
                    <a:pt x="3963" y="171"/>
                  </a:lnTo>
                  <a:lnTo>
                    <a:pt x="3954" y="202"/>
                  </a:lnTo>
                  <a:lnTo>
                    <a:pt x="3901" y="202"/>
                  </a:lnTo>
                  <a:lnTo>
                    <a:pt x="3974" y="6"/>
                  </a:lnTo>
                  <a:lnTo>
                    <a:pt x="4025" y="6"/>
                  </a:lnTo>
                  <a:lnTo>
                    <a:pt x="4025" y="6"/>
                  </a:lnTo>
                  <a:close/>
                  <a:moveTo>
                    <a:pt x="3897" y="158"/>
                  </a:moveTo>
                  <a:lnTo>
                    <a:pt x="3897" y="158"/>
                  </a:lnTo>
                  <a:cubicBezTo>
                    <a:pt x="3889" y="169"/>
                    <a:pt x="3882" y="180"/>
                    <a:pt x="3867" y="191"/>
                  </a:cubicBezTo>
                  <a:cubicBezTo>
                    <a:pt x="3858" y="197"/>
                    <a:pt x="3839" y="208"/>
                    <a:pt x="3812" y="208"/>
                  </a:cubicBezTo>
                  <a:cubicBezTo>
                    <a:pt x="3760" y="208"/>
                    <a:pt x="3718" y="170"/>
                    <a:pt x="3718" y="104"/>
                  </a:cubicBezTo>
                  <a:cubicBezTo>
                    <a:pt x="3718" y="46"/>
                    <a:pt x="3757" y="0"/>
                    <a:pt x="3813" y="0"/>
                  </a:cubicBezTo>
                  <a:cubicBezTo>
                    <a:pt x="3836" y="0"/>
                    <a:pt x="3856" y="7"/>
                    <a:pt x="3870" y="19"/>
                  </a:cubicBezTo>
                  <a:cubicBezTo>
                    <a:pt x="3884" y="30"/>
                    <a:pt x="3891" y="41"/>
                    <a:pt x="3896" y="51"/>
                  </a:cubicBezTo>
                  <a:lnTo>
                    <a:pt x="3857" y="70"/>
                  </a:lnTo>
                  <a:cubicBezTo>
                    <a:pt x="3854" y="64"/>
                    <a:pt x="3851" y="57"/>
                    <a:pt x="3842" y="50"/>
                  </a:cubicBezTo>
                  <a:cubicBezTo>
                    <a:pt x="3833" y="42"/>
                    <a:pt x="3823" y="40"/>
                    <a:pt x="3815" y="40"/>
                  </a:cubicBezTo>
                  <a:cubicBezTo>
                    <a:pt x="3784" y="40"/>
                    <a:pt x="3767" y="70"/>
                    <a:pt x="3767" y="102"/>
                  </a:cubicBezTo>
                  <a:cubicBezTo>
                    <a:pt x="3767" y="146"/>
                    <a:pt x="3789" y="167"/>
                    <a:pt x="3815" y="167"/>
                  </a:cubicBezTo>
                  <a:cubicBezTo>
                    <a:pt x="3841" y="167"/>
                    <a:pt x="3851" y="149"/>
                    <a:pt x="3858" y="138"/>
                  </a:cubicBezTo>
                  <a:lnTo>
                    <a:pt x="3897" y="158"/>
                  </a:lnTo>
                  <a:lnTo>
                    <a:pt x="3897" y="158"/>
                  </a:lnTo>
                  <a:close/>
                  <a:moveTo>
                    <a:pt x="3637" y="6"/>
                  </a:moveTo>
                  <a:lnTo>
                    <a:pt x="3637" y="6"/>
                  </a:lnTo>
                  <a:lnTo>
                    <a:pt x="3686" y="6"/>
                  </a:lnTo>
                  <a:lnTo>
                    <a:pt x="3686" y="202"/>
                  </a:lnTo>
                  <a:lnTo>
                    <a:pt x="3637" y="202"/>
                  </a:lnTo>
                  <a:lnTo>
                    <a:pt x="3637" y="6"/>
                  </a:lnTo>
                  <a:close/>
                  <a:moveTo>
                    <a:pt x="3464" y="6"/>
                  </a:moveTo>
                  <a:lnTo>
                    <a:pt x="3464" y="6"/>
                  </a:lnTo>
                  <a:lnTo>
                    <a:pt x="3615" y="6"/>
                  </a:lnTo>
                  <a:lnTo>
                    <a:pt x="3615" y="45"/>
                  </a:lnTo>
                  <a:lnTo>
                    <a:pt x="3564" y="45"/>
                  </a:lnTo>
                  <a:lnTo>
                    <a:pt x="3564" y="202"/>
                  </a:lnTo>
                  <a:lnTo>
                    <a:pt x="3515" y="202"/>
                  </a:lnTo>
                  <a:lnTo>
                    <a:pt x="3515" y="45"/>
                  </a:lnTo>
                  <a:lnTo>
                    <a:pt x="3464" y="45"/>
                  </a:lnTo>
                  <a:lnTo>
                    <a:pt x="3464" y="6"/>
                  </a:lnTo>
                  <a:lnTo>
                    <a:pt x="3464" y="6"/>
                  </a:lnTo>
                  <a:close/>
                  <a:moveTo>
                    <a:pt x="3443" y="6"/>
                  </a:moveTo>
                  <a:lnTo>
                    <a:pt x="3443" y="6"/>
                  </a:lnTo>
                  <a:lnTo>
                    <a:pt x="3443" y="116"/>
                  </a:lnTo>
                  <a:cubicBezTo>
                    <a:pt x="3443" y="134"/>
                    <a:pt x="3442" y="153"/>
                    <a:pt x="3432" y="171"/>
                  </a:cubicBezTo>
                  <a:cubicBezTo>
                    <a:pt x="3410" y="205"/>
                    <a:pt x="3367" y="207"/>
                    <a:pt x="3358" y="207"/>
                  </a:cubicBezTo>
                  <a:cubicBezTo>
                    <a:pt x="3344" y="207"/>
                    <a:pt x="3326" y="203"/>
                    <a:pt x="3313" y="196"/>
                  </a:cubicBezTo>
                  <a:cubicBezTo>
                    <a:pt x="3275" y="177"/>
                    <a:pt x="3275" y="142"/>
                    <a:pt x="3275" y="116"/>
                  </a:cubicBezTo>
                  <a:lnTo>
                    <a:pt x="3275" y="6"/>
                  </a:lnTo>
                  <a:lnTo>
                    <a:pt x="3325" y="6"/>
                  </a:lnTo>
                  <a:lnTo>
                    <a:pt x="3325" y="128"/>
                  </a:lnTo>
                  <a:cubicBezTo>
                    <a:pt x="3325" y="138"/>
                    <a:pt x="3325" y="147"/>
                    <a:pt x="3328" y="153"/>
                  </a:cubicBezTo>
                  <a:cubicBezTo>
                    <a:pt x="3334" y="163"/>
                    <a:pt x="3348" y="166"/>
                    <a:pt x="3360" y="166"/>
                  </a:cubicBezTo>
                  <a:cubicBezTo>
                    <a:pt x="3393" y="166"/>
                    <a:pt x="3393" y="143"/>
                    <a:pt x="3394" y="128"/>
                  </a:cubicBezTo>
                  <a:lnTo>
                    <a:pt x="3394" y="6"/>
                  </a:lnTo>
                  <a:lnTo>
                    <a:pt x="3443" y="6"/>
                  </a:lnTo>
                  <a:lnTo>
                    <a:pt x="3443" y="6"/>
                  </a:lnTo>
                  <a:close/>
                  <a:moveTo>
                    <a:pt x="3095" y="6"/>
                  </a:moveTo>
                  <a:lnTo>
                    <a:pt x="3095" y="6"/>
                  </a:lnTo>
                  <a:lnTo>
                    <a:pt x="3240" y="6"/>
                  </a:lnTo>
                  <a:lnTo>
                    <a:pt x="3240" y="44"/>
                  </a:lnTo>
                  <a:lnTo>
                    <a:pt x="3144" y="44"/>
                  </a:lnTo>
                  <a:lnTo>
                    <a:pt x="3144" y="80"/>
                  </a:lnTo>
                  <a:lnTo>
                    <a:pt x="3234" y="80"/>
                  </a:lnTo>
                  <a:lnTo>
                    <a:pt x="3234" y="117"/>
                  </a:lnTo>
                  <a:lnTo>
                    <a:pt x="3144" y="117"/>
                  </a:lnTo>
                  <a:lnTo>
                    <a:pt x="3144" y="164"/>
                  </a:lnTo>
                  <a:lnTo>
                    <a:pt x="3249" y="164"/>
                  </a:lnTo>
                  <a:lnTo>
                    <a:pt x="3249" y="202"/>
                  </a:lnTo>
                  <a:lnTo>
                    <a:pt x="3095" y="202"/>
                  </a:lnTo>
                  <a:lnTo>
                    <a:pt x="3095" y="6"/>
                  </a:lnTo>
                  <a:lnTo>
                    <a:pt x="3095" y="6"/>
                  </a:lnTo>
                  <a:close/>
                  <a:moveTo>
                    <a:pt x="3071" y="158"/>
                  </a:moveTo>
                  <a:lnTo>
                    <a:pt x="3071" y="158"/>
                  </a:lnTo>
                  <a:cubicBezTo>
                    <a:pt x="3064" y="169"/>
                    <a:pt x="3057" y="180"/>
                    <a:pt x="3042" y="191"/>
                  </a:cubicBezTo>
                  <a:cubicBezTo>
                    <a:pt x="3033" y="197"/>
                    <a:pt x="3014" y="208"/>
                    <a:pt x="2987" y="208"/>
                  </a:cubicBezTo>
                  <a:cubicBezTo>
                    <a:pt x="2935" y="208"/>
                    <a:pt x="2892" y="170"/>
                    <a:pt x="2892" y="104"/>
                  </a:cubicBezTo>
                  <a:cubicBezTo>
                    <a:pt x="2892" y="46"/>
                    <a:pt x="2932" y="0"/>
                    <a:pt x="2988" y="0"/>
                  </a:cubicBezTo>
                  <a:cubicBezTo>
                    <a:pt x="3010" y="0"/>
                    <a:pt x="3030" y="7"/>
                    <a:pt x="3045" y="19"/>
                  </a:cubicBezTo>
                  <a:cubicBezTo>
                    <a:pt x="3059" y="30"/>
                    <a:pt x="3065" y="41"/>
                    <a:pt x="3071" y="51"/>
                  </a:cubicBezTo>
                  <a:lnTo>
                    <a:pt x="3032" y="70"/>
                  </a:lnTo>
                  <a:cubicBezTo>
                    <a:pt x="3029" y="64"/>
                    <a:pt x="3026" y="57"/>
                    <a:pt x="3017" y="50"/>
                  </a:cubicBezTo>
                  <a:cubicBezTo>
                    <a:pt x="3008" y="42"/>
                    <a:pt x="2998" y="40"/>
                    <a:pt x="2990" y="40"/>
                  </a:cubicBezTo>
                  <a:cubicBezTo>
                    <a:pt x="2958" y="40"/>
                    <a:pt x="2942" y="70"/>
                    <a:pt x="2942" y="102"/>
                  </a:cubicBezTo>
                  <a:cubicBezTo>
                    <a:pt x="2942" y="146"/>
                    <a:pt x="2964" y="167"/>
                    <a:pt x="2990" y="167"/>
                  </a:cubicBezTo>
                  <a:cubicBezTo>
                    <a:pt x="3016" y="167"/>
                    <a:pt x="3026" y="149"/>
                    <a:pt x="3033" y="138"/>
                  </a:cubicBezTo>
                  <a:lnTo>
                    <a:pt x="3071" y="158"/>
                  </a:lnTo>
                  <a:lnTo>
                    <a:pt x="3071" y="158"/>
                  </a:lnTo>
                  <a:close/>
                  <a:moveTo>
                    <a:pt x="2790" y="53"/>
                  </a:moveTo>
                  <a:lnTo>
                    <a:pt x="2790" y="53"/>
                  </a:lnTo>
                  <a:cubicBezTo>
                    <a:pt x="2787" y="63"/>
                    <a:pt x="2784" y="73"/>
                    <a:pt x="2781" y="83"/>
                  </a:cubicBezTo>
                  <a:cubicBezTo>
                    <a:pt x="2777" y="98"/>
                    <a:pt x="2770" y="121"/>
                    <a:pt x="2765" y="136"/>
                  </a:cubicBezTo>
                  <a:lnTo>
                    <a:pt x="2815" y="136"/>
                  </a:lnTo>
                  <a:lnTo>
                    <a:pt x="2790" y="53"/>
                  </a:lnTo>
                  <a:lnTo>
                    <a:pt x="2790" y="53"/>
                  </a:lnTo>
                  <a:close/>
                  <a:moveTo>
                    <a:pt x="2816" y="6"/>
                  </a:moveTo>
                  <a:lnTo>
                    <a:pt x="2816" y="6"/>
                  </a:lnTo>
                  <a:lnTo>
                    <a:pt x="2888" y="202"/>
                  </a:lnTo>
                  <a:lnTo>
                    <a:pt x="2836" y="202"/>
                  </a:lnTo>
                  <a:lnTo>
                    <a:pt x="2826" y="171"/>
                  </a:lnTo>
                  <a:lnTo>
                    <a:pt x="2754" y="171"/>
                  </a:lnTo>
                  <a:lnTo>
                    <a:pt x="2744" y="202"/>
                  </a:lnTo>
                  <a:lnTo>
                    <a:pt x="2692" y="202"/>
                  </a:lnTo>
                  <a:lnTo>
                    <a:pt x="2765" y="6"/>
                  </a:lnTo>
                  <a:lnTo>
                    <a:pt x="2816" y="6"/>
                  </a:lnTo>
                  <a:lnTo>
                    <a:pt x="2816" y="6"/>
                  </a:lnTo>
                  <a:close/>
                  <a:moveTo>
                    <a:pt x="2671" y="6"/>
                  </a:moveTo>
                  <a:lnTo>
                    <a:pt x="2671" y="6"/>
                  </a:lnTo>
                  <a:lnTo>
                    <a:pt x="2671" y="202"/>
                  </a:lnTo>
                  <a:lnTo>
                    <a:pt x="2624" y="202"/>
                  </a:lnTo>
                  <a:lnTo>
                    <a:pt x="2627" y="62"/>
                  </a:lnTo>
                  <a:lnTo>
                    <a:pt x="2628" y="43"/>
                  </a:lnTo>
                  <a:lnTo>
                    <a:pt x="2626" y="50"/>
                  </a:lnTo>
                  <a:cubicBezTo>
                    <a:pt x="2623" y="61"/>
                    <a:pt x="2623" y="62"/>
                    <a:pt x="2621" y="70"/>
                  </a:cubicBezTo>
                  <a:lnTo>
                    <a:pt x="2584" y="202"/>
                  </a:lnTo>
                  <a:lnTo>
                    <a:pt x="2541" y="202"/>
                  </a:lnTo>
                  <a:lnTo>
                    <a:pt x="2506" y="76"/>
                  </a:lnTo>
                  <a:lnTo>
                    <a:pt x="2497" y="41"/>
                  </a:lnTo>
                  <a:cubicBezTo>
                    <a:pt x="2498" y="56"/>
                    <a:pt x="2498" y="60"/>
                    <a:pt x="2499" y="78"/>
                  </a:cubicBezTo>
                  <a:lnTo>
                    <a:pt x="2501" y="202"/>
                  </a:lnTo>
                  <a:lnTo>
                    <a:pt x="2454" y="202"/>
                  </a:lnTo>
                  <a:lnTo>
                    <a:pt x="2454" y="6"/>
                  </a:lnTo>
                  <a:lnTo>
                    <a:pt x="2526" y="6"/>
                  </a:lnTo>
                  <a:lnTo>
                    <a:pt x="2556" y="116"/>
                  </a:lnTo>
                  <a:lnTo>
                    <a:pt x="2563" y="148"/>
                  </a:lnTo>
                  <a:cubicBezTo>
                    <a:pt x="2565" y="134"/>
                    <a:pt x="2566" y="133"/>
                    <a:pt x="2568" y="123"/>
                  </a:cubicBezTo>
                  <a:lnTo>
                    <a:pt x="2599" y="6"/>
                  </a:lnTo>
                  <a:lnTo>
                    <a:pt x="2671" y="6"/>
                  </a:lnTo>
                  <a:lnTo>
                    <a:pt x="2671" y="6"/>
                  </a:lnTo>
                  <a:close/>
                  <a:moveTo>
                    <a:pt x="2302" y="43"/>
                  </a:moveTo>
                  <a:lnTo>
                    <a:pt x="2302" y="43"/>
                  </a:lnTo>
                  <a:lnTo>
                    <a:pt x="2302" y="96"/>
                  </a:lnTo>
                  <a:lnTo>
                    <a:pt x="2343" y="96"/>
                  </a:lnTo>
                  <a:cubicBezTo>
                    <a:pt x="2350" y="95"/>
                    <a:pt x="2373" y="95"/>
                    <a:pt x="2373" y="69"/>
                  </a:cubicBezTo>
                  <a:cubicBezTo>
                    <a:pt x="2373" y="44"/>
                    <a:pt x="2354" y="43"/>
                    <a:pt x="2344" y="43"/>
                  </a:cubicBezTo>
                  <a:lnTo>
                    <a:pt x="2302" y="43"/>
                  </a:lnTo>
                  <a:lnTo>
                    <a:pt x="2302" y="43"/>
                  </a:lnTo>
                  <a:close/>
                  <a:moveTo>
                    <a:pt x="2253" y="6"/>
                  </a:moveTo>
                  <a:lnTo>
                    <a:pt x="2253" y="6"/>
                  </a:lnTo>
                  <a:lnTo>
                    <a:pt x="2342" y="6"/>
                  </a:lnTo>
                  <a:cubicBezTo>
                    <a:pt x="2362" y="6"/>
                    <a:pt x="2388" y="6"/>
                    <a:pt x="2406" y="26"/>
                  </a:cubicBezTo>
                  <a:cubicBezTo>
                    <a:pt x="2415" y="36"/>
                    <a:pt x="2422" y="52"/>
                    <a:pt x="2422" y="70"/>
                  </a:cubicBezTo>
                  <a:cubicBezTo>
                    <a:pt x="2422" y="109"/>
                    <a:pt x="2395" y="119"/>
                    <a:pt x="2381" y="124"/>
                  </a:cubicBezTo>
                  <a:lnTo>
                    <a:pt x="2427" y="202"/>
                  </a:lnTo>
                  <a:lnTo>
                    <a:pt x="2372" y="202"/>
                  </a:lnTo>
                  <a:lnTo>
                    <a:pt x="2333" y="132"/>
                  </a:lnTo>
                  <a:lnTo>
                    <a:pt x="2302" y="132"/>
                  </a:lnTo>
                  <a:lnTo>
                    <a:pt x="2302" y="202"/>
                  </a:lnTo>
                  <a:lnTo>
                    <a:pt x="2253" y="202"/>
                  </a:lnTo>
                  <a:lnTo>
                    <a:pt x="2253" y="6"/>
                  </a:lnTo>
                  <a:lnTo>
                    <a:pt x="2253" y="6"/>
                  </a:lnTo>
                  <a:close/>
                  <a:moveTo>
                    <a:pt x="2134" y="53"/>
                  </a:moveTo>
                  <a:lnTo>
                    <a:pt x="2134" y="53"/>
                  </a:lnTo>
                  <a:cubicBezTo>
                    <a:pt x="2131" y="63"/>
                    <a:pt x="2128" y="73"/>
                    <a:pt x="2125" y="83"/>
                  </a:cubicBezTo>
                  <a:cubicBezTo>
                    <a:pt x="2121" y="98"/>
                    <a:pt x="2114" y="121"/>
                    <a:pt x="2109" y="136"/>
                  </a:cubicBezTo>
                  <a:lnTo>
                    <a:pt x="2159" y="136"/>
                  </a:lnTo>
                  <a:lnTo>
                    <a:pt x="2134" y="53"/>
                  </a:lnTo>
                  <a:lnTo>
                    <a:pt x="2134" y="53"/>
                  </a:lnTo>
                  <a:close/>
                  <a:moveTo>
                    <a:pt x="2160" y="6"/>
                  </a:moveTo>
                  <a:lnTo>
                    <a:pt x="2160" y="6"/>
                  </a:lnTo>
                  <a:lnTo>
                    <a:pt x="2232" y="202"/>
                  </a:lnTo>
                  <a:lnTo>
                    <a:pt x="2180" y="202"/>
                  </a:lnTo>
                  <a:lnTo>
                    <a:pt x="2170" y="171"/>
                  </a:lnTo>
                  <a:lnTo>
                    <a:pt x="2098" y="171"/>
                  </a:lnTo>
                  <a:lnTo>
                    <a:pt x="2088" y="202"/>
                  </a:lnTo>
                  <a:lnTo>
                    <a:pt x="2036" y="202"/>
                  </a:lnTo>
                  <a:lnTo>
                    <a:pt x="2109" y="6"/>
                  </a:lnTo>
                  <a:lnTo>
                    <a:pt x="2160" y="6"/>
                  </a:lnTo>
                  <a:lnTo>
                    <a:pt x="2160" y="6"/>
                  </a:lnTo>
                  <a:close/>
                  <a:moveTo>
                    <a:pt x="2015" y="6"/>
                  </a:moveTo>
                  <a:lnTo>
                    <a:pt x="2015" y="6"/>
                  </a:lnTo>
                  <a:lnTo>
                    <a:pt x="2015" y="202"/>
                  </a:lnTo>
                  <a:lnTo>
                    <a:pt x="1966" y="202"/>
                  </a:lnTo>
                  <a:lnTo>
                    <a:pt x="1966" y="119"/>
                  </a:lnTo>
                  <a:lnTo>
                    <a:pt x="1894" y="119"/>
                  </a:lnTo>
                  <a:lnTo>
                    <a:pt x="1894" y="202"/>
                  </a:lnTo>
                  <a:lnTo>
                    <a:pt x="1845" y="202"/>
                  </a:lnTo>
                  <a:lnTo>
                    <a:pt x="1845" y="6"/>
                  </a:lnTo>
                  <a:lnTo>
                    <a:pt x="1894" y="6"/>
                  </a:lnTo>
                  <a:lnTo>
                    <a:pt x="1894" y="77"/>
                  </a:lnTo>
                  <a:lnTo>
                    <a:pt x="1966" y="77"/>
                  </a:lnTo>
                  <a:lnTo>
                    <a:pt x="1966" y="6"/>
                  </a:lnTo>
                  <a:lnTo>
                    <a:pt x="2015" y="6"/>
                  </a:lnTo>
                  <a:lnTo>
                    <a:pt x="2015" y="6"/>
                  </a:lnTo>
                  <a:close/>
                  <a:moveTo>
                    <a:pt x="1701" y="42"/>
                  </a:moveTo>
                  <a:lnTo>
                    <a:pt x="1701" y="42"/>
                  </a:lnTo>
                  <a:lnTo>
                    <a:pt x="1701" y="102"/>
                  </a:lnTo>
                  <a:lnTo>
                    <a:pt x="1731" y="102"/>
                  </a:lnTo>
                  <a:cubicBezTo>
                    <a:pt x="1749" y="102"/>
                    <a:pt x="1771" y="101"/>
                    <a:pt x="1771" y="71"/>
                  </a:cubicBezTo>
                  <a:cubicBezTo>
                    <a:pt x="1771" y="42"/>
                    <a:pt x="1747" y="42"/>
                    <a:pt x="1732" y="42"/>
                  </a:cubicBezTo>
                  <a:lnTo>
                    <a:pt x="1701" y="42"/>
                  </a:lnTo>
                  <a:lnTo>
                    <a:pt x="1701" y="42"/>
                  </a:lnTo>
                  <a:close/>
                  <a:moveTo>
                    <a:pt x="1652" y="6"/>
                  </a:moveTo>
                  <a:lnTo>
                    <a:pt x="1652" y="6"/>
                  </a:lnTo>
                  <a:lnTo>
                    <a:pt x="1731" y="6"/>
                  </a:lnTo>
                  <a:cubicBezTo>
                    <a:pt x="1763" y="6"/>
                    <a:pt x="1792" y="6"/>
                    <a:pt x="1809" y="31"/>
                  </a:cubicBezTo>
                  <a:cubicBezTo>
                    <a:pt x="1817" y="42"/>
                    <a:pt x="1820" y="58"/>
                    <a:pt x="1820" y="71"/>
                  </a:cubicBezTo>
                  <a:cubicBezTo>
                    <a:pt x="1820" y="82"/>
                    <a:pt x="1818" y="92"/>
                    <a:pt x="1814" y="102"/>
                  </a:cubicBezTo>
                  <a:cubicBezTo>
                    <a:pt x="1797" y="137"/>
                    <a:pt x="1761" y="138"/>
                    <a:pt x="1734" y="138"/>
                  </a:cubicBezTo>
                  <a:lnTo>
                    <a:pt x="1701" y="138"/>
                  </a:lnTo>
                  <a:lnTo>
                    <a:pt x="1701" y="202"/>
                  </a:lnTo>
                  <a:lnTo>
                    <a:pt x="1652" y="202"/>
                  </a:lnTo>
                  <a:lnTo>
                    <a:pt x="1652" y="6"/>
                  </a:lnTo>
                  <a:lnTo>
                    <a:pt x="1652" y="6"/>
                  </a:lnTo>
                  <a:close/>
                  <a:moveTo>
                    <a:pt x="1373" y="6"/>
                  </a:moveTo>
                  <a:lnTo>
                    <a:pt x="1373" y="6"/>
                  </a:lnTo>
                  <a:lnTo>
                    <a:pt x="1422" y="6"/>
                  </a:lnTo>
                  <a:lnTo>
                    <a:pt x="1464" y="78"/>
                  </a:lnTo>
                  <a:cubicBezTo>
                    <a:pt x="1480" y="106"/>
                    <a:pt x="1485" y="115"/>
                    <a:pt x="1494" y="132"/>
                  </a:cubicBezTo>
                  <a:lnTo>
                    <a:pt x="1492" y="6"/>
                  </a:lnTo>
                  <a:lnTo>
                    <a:pt x="1539" y="6"/>
                  </a:lnTo>
                  <a:lnTo>
                    <a:pt x="1539" y="202"/>
                  </a:lnTo>
                  <a:lnTo>
                    <a:pt x="1490" y="202"/>
                  </a:lnTo>
                  <a:lnTo>
                    <a:pt x="1454" y="140"/>
                  </a:lnTo>
                  <a:cubicBezTo>
                    <a:pt x="1436" y="111"/>
                    <a:pt x="1432" y="105"/>
                    <a:pt x="1419" y="79"/>
                  </a:cubicBezTo>
                  <a:lnTo>
                    <a:pt x="1420" y="202"/>
                  </a:lnTo>
                  <a:lnTo>
                    <a:pt x="1373" y="202"/>
                  </a:lnTo>
                  <a:lnTo>
                    <a:pt x="1373" y="6"/>
                  </a:lnTo>
                  <a:lnTo>
                    <a:pt x="1373" y="6"/>
                  </a:lnTo>
                  <a:close/>
                  <a:moveTo>
                    <a:pt x="1189" y="6"/>
                  </a:moveTo>
                  <a:lnTo>
                    <a:pt x="1189" y="6"/>
                  </a:lnTo>
                  <a:lnTo>
                    <a:pt x="1335" y="6"/>
                  </a:lnTo>
                  <a:lnTo>
                    <a:pt x="1335" y="44"/>
                  </a:lnTo>
                  <a:lnTo>
                    <a:pt x="1238" y="44"/>
                  </a:lnTo>
                  <a:lnTo>
                    <a:pt x="1238" y="80"/>
                  </a:lnTo>
                  <a:lnTo>
                    <a:pt x="1328" y="80"/>
                  </a:lnTo>
                  <a:lnTo>
                    <a:pt x="1328" y="117"/>
                  </a:lnTo>
                  <a:lnTo>
                    <a:pt x="1238" y="117"/>
                  </a:lnTo>
                  <a:lnTo>
                    <a:pt x="1238" y="164"/>
                  </a:lnTo>
                  <a:lnTo>
                    <a:pt x="1343" y="164"/>
                  </a:lnTo>
                  <a:lnTo>
                    <a:pt x="1343" y="202"/>
                  </a:lnTo>
                  <a:lnTo>
                    <a:pt x="1189" y="202"/>
                  </a:lnTo>
                  <a:lnTo>
                    <a:pt x="1189" y="6"/>
                  </a:lnTo>
                  <a:lnTo>
                    <a:pt x="1189" y="6"/>
                  </a:lnTo>
                  <a:close/>
                  <a:moveTo>
                    <a:pt x="1017" y="143"/>
                  </a:moveTo>
                  <a:lnTo>
                    <a:pt x="1017" y="143"/>
                  </a:lnTo>
                  <a:cubicBezTo>
                    <a:pt x="1022" y="149"/>
                    <a:pt x="1026" y="153"/>
                    <a:pt x="1036" y="159"/>
                  </a:cubicBezTo>
                  <a:cubicBezTo>
                    <a:pt x="1049" y="166"/>
                    <a:pt x="1062" y="168"/>
                    <a:pt x="1074" y="168"/>
                  </a:cubicBezTo>
                  <a:cubicBezTo>
                    <a:pt x="1093" y="168"/>
                    <a:pt x="1110" y="159"/>
                    <a:pt x="1110" y="145"/>
                  </a:cubicBezTo>
                  <a:cubicBezTo>
                    <a:pt x="1110" y="130"/>
                    <a:pt x="1090" y="127"/>
                    <a:pt x="1076" y="125"/>
                  </a:cubicBezTo>
                  <a:cubicBezTo>
                    <a:pt x="1065" y="124"/>
                    <a:pt x="1054" y="123"/>
                    <a:pt x="1043" y="120"/>
                  </a:cubicBezTo>
                  <a:cubicBezTo>
                    <a:pt x="1031" y="118"/>
                    <a:pt x="990" y="109"/>
                    <a:pt x="990" y="67"/>
                  </a:cubicBezTo>
                  <a:cubicBezTo>
                    <a:pt x="990" y="16"/>
                    <a:pt x="1035" y="1"/>
                    <a:pt x="1069" y="1"/>
                  </a:cubicBezTo>
                  <a:cubicBezTo>
                    <a:pt x="1115" y="1"/>
                    <a:pt x="1139" y="23"/>
                    <a:pt x="1156" y="38"/>
                  </a:cubicBezTo>
                  <a:lnTo>
                    <a:pt x="1120" y="64"/>
                  </a:lnTo>
                  <a:cubicBezTo>
                    <a:pt x="1114" y="58"/>
                    <a:pt x="1108" y="53"/>
                    <a:pt x="1101" y="48"/>
                  </a:cubicBezTo>
                  <a:cubicBezTo>
                    <a:pt x="1094" y="45"/>
                    <a:pt x="1081" y="40"/>
                    <a:pt x="1069" y="40"/>
                  </a:cubicBezTo>
                  <a:cubicBezTo>
                    <a:pt x="1049" y="40"/>
                    <a:pt x="1039" y="51"/>
                    <a:pt x="1039" y="60"/>
                  </a:cubicBezTo>
                  <a:cubicBezTo>
                    <a:pt x="1039" y="75"/>
                    <a:pt x="1056" y="78"/>
                    <a:pt x="1064" y="79"/>
                  </a:cubicBezTo>
                  <a:cubicBezTo>
                    <a:pt x="1085" y="81"/>
                    <a:pt x="1113" y="87"/>
                    <a:pt x="1125" y="90"/>
                  </a:cubicBezTo>
                  <a:cubicBezTo>
                    <a:pt x="1147" y="99"/>
                    <a:pt x="1159" y="116"/>
                    <a:pt x="1159" y="139"/>
                  </a:cubicBezTo>
                  <a:cubicBezTo>
                    <a:pt x="1159" y="153"/>
                    <a:pt x="1153" y="168"/>
                    <a:pt x="1143" y="180"/>
                  </a:cubicBezTo>
                  <a:cubicBezTo>
                    <a:pt x="1125" y="201"/>
                    <a:pt x="1097" y="207"/>
                    <a:pt x="1069" y="207"/>
                  </a:cubicBezTo>
                  <a:cubicBezTo>
                    <a:pt x="1014" y="207"/>
                    <a:pt x="992" y="181"/>
                    <a:pt x="979" y="167"/>
                  </a:cubicBezTo>
                  <a:lnTo>
                    <a:pt x="1017" y="143"/>
                  </a:lnTo>
                  <a:lnTo>
                    <a:pt x="1017" y="143"/>
                  </a:lnTo>
                  <a:close/>
                  <a:moveTo>
                    <a:pt x="823" y="143"/>
                  </a:moveTo>
                  <a:lnTo>
                    <a:pt x="823" y="143"/>
                  </a:lnTo>
                  <a:cubicBezTo>
                    <a:pt x="828" y="149"/>
                    <a:pt x="832" y="153"/>
                    <a:pt x="842" y="159"/>
                  </a:cubicBezTo>
                  <a:cubicBezTo>
                    <a:pt x="855" y="166"/>
                    <a:pt x="868" y="168"/>
                    <a:pt x="880" y="168"/>
                  </a:cubicBezTo>
                  <a:cubicBezTo>
                    <a:pt x="899" y="168"/>
                    <a:pt x="916" y="159"/>
                    <a:pt x="916" y="145"/>
                  </a:cubicBezTo>
                  <a:cubicBezTo>
                    <a:pt x="916" y="130"/>
                    <a:pt x="896" y="127"/>
                    <a:pt x="882" y="125"/>
                  </a:cubicBezTo>
                  <a:cubicBezTo>
                    <a:pt x="871" y="124"/>
                    <a:pt x="860" y="123"/>
                    <a:pt x="849" y="120"/>
                  </a:cubicBezTo>
                  <a:cubicBezTo>
                    <a:pt x="837" y="118"/>
                    <a:pt x="796" y="109"/>
                    <a:pt x="796" y="67"/>
                  </a:cubicBezTo>
                  <a:cubicBezTo>
                    <a:pt x="796" y="16"/>
                    <a:pt x="842" y="1"/>
                    <a:pt x="876" y="1"/>
                  </a:cubicBezTo>
                  <a:cubicBezTo>
                    <a:pt x="921" y="1"/>
                    <a:pt x="946" y="23"/>
                    <a:pt x="963" y="38"/>
                  </a:cubicBezTo>
                  <a:lnTo>
                    <a:pt x="926" y="64"/>
                  </a:lnTo>
                  <a:cubicBezTo>
                    <a:pt x="920" y="58"/>
                    <a:pt x="915" y="53"/>
                    <a:pt x="907" y="48"/>
                  </a:cubicBezTo>
                  <a:cubicBezTo>
                    <a:pt x="900" y="45"/>
                    <a:pt x="887" y="40"/>
                    <a:pt x="875" y="40"/>
                  </a:cubicBezTo>
                  <a:cubicBezTo>
                    <a:pt x="855" y="40"/>
                    <a:pt x="846" y="51"/>
                    <a:pt x="846" y="60"/>
                  </a:cubicBezTo>
                  <a:cubicBezTo>
                    <a:pt x="846" y="75"/>
                    <a:pt x="862" y="78"/>
                    <a:pt x="871" y="79"/>
                  </a:cubicBezTo>
                  <a:cubicBezTo>
                    <a:pt x="891" y="81"/>
                    <a:pt x="920" y="87"/>
                    <a:pt x="931" y="90"/>
                  </a:cubicBezTo>
                  <a:cubicBezTo>
                    <a:pt x="953" y="99"/>
                    <a:pt x="965" y="116"/>
                    <a:pt x="965" y="139"/>
                  </a:cubicBezTo>
                  <a:cubicBezTo>
                    <a:pt x="965" y="153"/>
                    <a:pt x="959" y="168"/>
                    <a:pt x="949" y="180"/>
                  </a:cubicBezTo>
                  <a:cubicBezTo>
                    <a:pt x="931" y="201"/>
                    <a:pt x="903" y="207"/>
                    <a:pt x="875" y="207"/>
                  </a:cubicBezTo>
                  <a:cubicBezTo>
                    <a:pt x="820" y="207"/>
                    <a:pt x="798" y="181"/>
                    <a:pt x="786" y="167"/>
                  </a:cubicBezTo>
                  <a:lnTo>
                    <a:pt x="823" y="143"/>
                  </a:lnTo>
                  <a:lnTo>
                    <a:pt x="823" y="143"/>
                  </a:lnTo>
                  <a:close/>
                  <a:moveTo>
                    <a:pt x="596" y="6"/>
                  </a:moveTo>
                  <a:lnTo>
                    <a:pt x="596" y="6"/>
                  </a:lnTo>
                  <a:lnTo>
                    <a:pt x="645" y="6"/>
                  </a:lnTo>
                  <a:lnTo>
                    <a:pt x="687" y="78"/>
                  </a:lnTo>
                  <a:cubicBezTo>
                    <a:pt x="703" y="106"/>
                    <a:pt x="708" y="115"/>
                    <a:pt x="717" y="132"/>
                  </a:cubicBezTo>
                  <a:lnTo>
                    <a:pt x="715" y="6"/>
                  </a:lnTo>
                  <a:lnTo>
                    <a:pt x="762" y="6"/>
                  </a:lnTo>
                  <a:lnTo>
                    <a:pt x="762" y="202"/>
                  </a:lnTo>
                  <a:lnTo>
                    <a:pt x="713" y="202"/>
                  </a:lnTo>
                  <a:lnTo>
                    <a:pt x="677" y="140"/>
                  </a:lnTo>
                  <a:cubicBezTo>
                    <a:pt x="659" y="111"/>
                    <a:pt x="656" y="105"/>
                    <a:pt x="642" y="79"/>
                  </a:cubicBezTo>
                  <a:lnTo>
                    <a:pt x="644" y="202"/>
                  </a:lnTo>
                  <a:lnTo>
                    <a:pt x="596" y="202"/>
                  </a:lnTo>
                  <a:lnTo>
                    <a:pt x="596" y="6"/>
                  </a:lnTo>
                  <a:lnTo>
                    <a:pt x="596" y="6"/>
                  </a:lnTo>
                  <a:close/>
                  <a:moveTo>
                    <a:pt x="477" y="53"/>
                  </a:moveTo>
                  <a:lnTo>
                    <a:pt x="477" y="53"/>
                  </a:lnTo>
                  <a:cubicBezTo>
                    <a:pt x="474" y="63"/>
                    <a:pt x="472" y="73"/>
                    <a:pt x="469" y="83"/>
                  </a:cubicBezTo>
                  <a:cubicBezTo>
                    <a:pt x="465" y="98"/>
                    <a:pt x="457" y="121"/>
                    <a:pt x="453" y="136"/>
                  </a:cubicBezTo>
                  <a:lnTo>
                    <a:pt x="503" y="136"/>
                  </a:lnTo>
                  <a:lnTo>
                    <a:pt x="477" y="53"/>
                  </a:lnTo>
                  <a:lnTo>
                    <a:pt x="477" y="53"/>
                  </a:lnTo>
                  <a:close/>
                  <a:moveTo>
                    <a:pt x="503" y="6"/>
                  </a:moveTo>
                  <a:lnTo>
                    <a:pt x="503" y="6"/>
                  </a:lnTo>
                  <a:lnTo>
                    <a:pt x="576" y="202"/>
                  </a:lnTo>
                  <a:lnTo>
                    <a:pt x="523" y="202"/>
                  </a:lnTo>
                  <a:lnTo>
                    <a:pt x="514" y="171"/>
                  </a:lnTo>
                  <a:lnTo>
                    <a:pt x="441" y="171"/>
                  </a:lnTo>
                  <a:lnTo>
                    <a:pt x="432" y="202"/>
                  </a:lnTo>
                  <a:lnTo>
                    <a:pt x="379" y="202"/>
                  </a:lnTo>
                  <a:lnTo>
                    <a:pt x="452" y="6"/>
                  </a:lnTo>
                  <a:lnTo>
                    <a:pt x="503" y="6"/>
                  </a:lnTo>
                  <a:lnTo>
                    <a:pt x="503" y="6"/>
                  </a:lnTo>
                  <a:close/>
                  <a:moveTo>
                    <a:pt x="315" y="6"/>
                  </a:moveTo>
                  <a:lnTo>
                    <a:pt x="315" y="6"/>
                  </a:lnTo>
                  <a:lnTo>
                    <a:pt x="365" y="6"/>
                  </a:lnTo>
                  <a:lnTo>
                    <a:pt x="365" y="148"/>
                  </a:lnTo>
                  <a:cubicBezTo>
                    <a:pt x="365" y="166"/>
                    <a:pt x="365" y="178"/>
                    <a:pt x="355" y="189"/>
                  </a:cubicBezTo>
                  <a:cubicBezTo>
                    <a:pt x="344" y="201"/>
                    <a:pt x="326" y="202"/>
                    <a:pt x="310" y="202"/>
                  </a:cubicBezTo>
                  <a:lnTo>
                    <a:pt x="277" y="202"/>
                  </a:lnTo>
                  <a:lnTo>
                    <a:pt x="277" y="163"/>
                  </a:lnTo>
                  <a:lnTo>
                    <a:pt x="285" y="163"/>
                  </a:lnTo>
                  <a:cubicBezTo>
                    <a:pt x="312" y="163"/>
                    <a:pt x="315" y="160"/>
                    <a:pt x="315" y="142"/>
                  </a:cubicBezTo>
                  <a:lnTo>
                    <a:pt x="315" y="6"/>
                  </a:lnTo>
                  <a:lnTo>
                    <a:pt x="315" y="6"/>
                  </a:lnTo>
                  <a:close/>
                  <a:moveTo>
                    <a:pt x="97" y="53"/>
                  </a:moveTo>
                  <a:lnTo>
                    <a:pt x="97" y="53"/>
                  </a:lnTo>
                  <a:cubicBezTo>
                    <a:pt x="95" y="63"/>
                    <a:pt x="92" y="73"/>
                    <a:pt x="89" y="83"/>
                  </a:cubicBezTo>
                  <a:cubicBezTo>
                    <a:pt x="85" y="98"/>
                    <a:pt x="78" y="121"/>
                    <a:pt x="73" y="136"/>
                  </a:cubicBezTo>
                  <a:lnTo>
                    <a:pt x="123" y="136"/>
                  </a:lnTo>
                  <a:lnTo>
                    <a:pt x="97" y="53"/>
                  </a:lnTo>
                  <a:lnTo>
                    <a:pt x="97" y="53"/>
                  </a:lnTo>
                  <a:close/>
                  <a:moveTo>
                    <a:pt x="124" y="6"/>
                  </a:moveTo>
                  <a:lnTo>
                    <a:pt x="124" y="6"/>
                  </a:lnTo>
                  <a:lnTo>
                    <a:pt x="196" y="202"/>
                  </a:lnTo>
                  <a:lnTo>
                    <a:pt x="144" y="202"/>
                  </a:lnTo>
                  <a:lnTo>
                    <a:pt x="134" y="171"/>
                  </a:lnTo>
                  <a:lnTo>
                    <a:pt x="62" y="171"/>
                  </a:lnTo>
                  <a:lnTo>
                    <a:pt x="52" y="202"/>
                  </a:lnTo>
                  <a:lnTo>
                    <a:pt x="0" y="202"/>
                  </a:lnTo>
                  <a:lnTo>
                    <a:pt x="73" y="6"/>
                  </a:lnTo>
                  <a:lnTo>
                    <a:pt x="124" y="6"/>
                  </a:lnTo>
                  <a:close/>
                </a:path>
              </a:pathLst>
            </a:custGeom>
            <a:solidFill>
              <a:srgbClr val="8C8C8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4" name="Freeform 9"/>
            <p:cNvSpPr>
              <a:spLocks noEditPoints="1"/>
            </p:cNvSpPr>
            <p:nvPr userDrawn="1"/>
          </p:nvSpPr>
          <p:spPr bwMode="auto">
            <a:xfrm>
              <a:off x="4817" y="2964"/>
              <a:ext cx="408" cy="75"/>
            </a:xfrm>
            <a:custGeom>
              <a:avLst/>
              <a:gdLst>
                <a:gd name="T0" fmla="*/ 2879 w 3218"/>
                <a:gd name="T1" fmla="*/ 212 h 584"/>
                <a:gd name="T2" fmla="*/ 2035 w 3218"/>
                <a:gd name="T3" fmla="*/ 212 h 584"/>
                <a:gd name="T4" fmla="*/ 2198 w 3218"/>
                <a:gd name="T5" fmla="*/ 170 h 584"/>
                <a:gd name="T6" fmla="*/ 1787 w 3218"/>
                <a:gd name="T7" fmla="*/ 546 h 584"/>
                <a:gd name="T8" fmla="*/ 2686 w 3218"/>
                <a:gd name="T9" fmla="*/ 327 h 584"/>
                <a:gd name="T10" fmla="*/ 1850 w 3218"/>
                <a:gd name="T11" fmla="*/ 22 h 584"/>
                <a:gd name="T12" fmla="*/ 1848 w 3218"/>
                <a:gd name="T13" fmla="*/ 20 h 584"/>
                <a:gd name="T14" fmla="*/ 1736 w 3218"/>
                <a:gd name="T15" fmla="*/ 517 h 584"/>
                <a:gd name="T16" fmla="*/ 2011 w 3218"/>
                <a:gd name="T17" fmla="*/ 368 h 584"/>
                <a:gd name="T18" fmla="*/ 2201 w 3218"/>
                <a:gd name="T19" fmla="*/ 338 h 584"/>
                <a:gd name="T20" fmla="*/ 2322 w 3218"/>
                <a:gd name="T21" fmla="*/ 352 h 584"/>
                <a:gd name="T22" fmla="*/ 2456 w 3218"/>
                <a:gd name="T23" fmla="*/ 348 h 584"/>
                <a:gd name="T24" fmla="*/ 2590 w 3218"/>
                <a:gd name="T25" fmla="*/ 344 h 584"/>
                <a:gd name="T26" fmla="*/ 2716 w 3218"/>
                <a:gd name="T27" fmla="*/ 265 h 584"/>
                <a:gd name="T28" fmla="*/ 2973 w 3218"/>
                <a:gd name="T29" fmla="*/ 223 h 584"/>
                <a:gd name="T30" fmla="*/ 3104 w 3218"/>
                <a:gd name="T31" fmla="*/ 234 h 584"/>
                <a:gd name="T32" fmla="*/ 3218 w 3218"/>
                <a:gd name="T33" fmla="*/ 297 h 584"/>
                <a:gd name="T34" fmla="*/ 3137 w 3218"/>
                <a:gd name="T35" fmla="*/ 175 h 584"/>
                <a:gd name="T36" fmla="*/ 3017 w 3218"/>
                <a:gd name="T37" fmla="*/ 175 h 584"/>
                <a:gd name="T38" fmla="*/ 2909 w 3218"/>
                <a:gd name="T39" fmla="*/ 250 h 584"/>
                <a:gd name="T40" fmla="*/ 2849 w 3218"/>
                <a:gd name="T41" fmla="*/ 178 h 584"/>
                <a:gd name="T42" fmla="*/ 2661 w 3218"/>
                <a:gd name="T43" fmla="*/ 183 h 584"/>
                <a:gd name="T44" fmla="*/ 2516 w 3218"/>
                <a:gd name="T45" fmla="*/ 197 h 584"/>
                <a:gd name="T46" fmla="*/ 2396 w 3218"/>
                <a:gd name="T47" fmla="*/ 197 h 584"/>
                <a:gd name="T48" fmla="*/ 2251 w 3218"/>
                <a:gd name="T49" fmla="*/ 207 h 584"/>
                <a:gd name="T50" fmla="*/ 2222 w 3218"/>
                <a:gd name="T51" fmla="*/ 6 h 584"/>
                <a:gd name="T52" fmla="*/ 2066 w 3218"/>
                <a:gd name="T53" fmla="*/ 251 h 584"/>
                <a:gd name="T54" fmla="*/ 2005 w 3218"/>
                <a:gd name="T55" fmla="*/ 178 h 584"/>
                <a:gd name="T56" fmla="*/ 1862 w 3218"/>
                <a:gd name="T57" fmla="*/ 0 h 584"/>
                <a:gd name="T58" fmla="*/ 1659 w 3218"/>
                <a:gd name="T59" fmla="*/ 219 h 584"/>
                <a:gd name="T60" fmla="*/ 1572 w 3218"/>
                <a:gd name="T61" fmla="*/ 253 h 584"/>
                <a:gd name="T62" fmla="*/ 1674 w 3218"/>
                <a:gd name="T63" fmla="*/ 320 h 584"/>
                <a:gd name="T64" fmla="*/ 1612 w 3218"/>
                <a:gd name="T65" fmla="*/ 310 h 584"/>
                <a:gd name="T66" fmla="*/ 1168 w 3218"/>
                <a:gd name="T67" fmla="*/ 212 h 584"/>
                <a:gd name="T68" fmla="*/ 324 w 3218"/>
                <a:gd name="T69" fmla="*/ 212 h 584"/>
                <a:gd name="T70" fmla="*/ 487 w 3218"/>
                <a:gd name="T71" fmla="*/ 127 h 584"/>
                <a:gd name="T72" fmla="*/ 487 w 3218"/>
                <a:gd name="T73" fmla="*/ 127 h 584"/>
                <a:gd name="T74" fmla="*/ 1231 w 3218"/>
                <a:gd name="T75" fmla="*/ 243 h 584"/>
                <a:gd name="T76" fmla="*/ 1334 w 3218"/>
                <a:gd name="T77" fmla="*/ 348 h 584"/>
                <a:gd name="T78" fmla="*/ 1505 w 3218"/>
                <a:gd name="T79" fmla="*/ 303 h 584"/>
                <a:gd name="T80" fmla="*/ 1454 w 3218"/>
                <a:gd name="T81" fmla="*/ 214 h 584"/>
                <a:gd name="T82" fmla="*/ 1335 w 3218"/>
                <a:gd name="T83" fmla="*/ 214 h 584"/>
                <a:gd name="T84" fmla="*/ 1169 w 3218"/>
                <a:gd name="T85" fmla="*/ 246 h 584"/>
                <a:gd name="T86" fmla="*/ 1128 w 3218"/>
                <a:gd name="T87" fmla="*/ 194 h 584"/>
                <a:gd name="T88" fmla="*/ 958 w 3218"/>
                <a:gd name="T89" fmla="*/ 171 h 584"/>
                <a:gd name="T90" fmla="*/ 839 w 3218"/>
                <a:gd name="T91" fmla="*/ 175 h 584"/>
                <a:gd name="T92" fmla="*/ 720 w 3218"/>
                <a:gd name="T93" fmla="*/ 175 h 584"/>
                <a:gd name="T94" fmla="*/ 580 w 3218"/>
                <a:gd name="T95" fmla="*/ 175 h 584"/>
                <a:gd name="T96" fmla="*/ 546 w 3218"/>
                <a:gd name="T97" fmla="*/ 55 h 584"/>
                <a:gd name="T98" fmla="*/ 298 w 3218"/>
                <a:gd name="T99" fmla="*/ 207 h 584"/>
                <a:gd name="T100" fmla="*/ 285 w 3218"/>
                <a:gd name="T101" fmla="*/ 194 h 584"/>
                <a:gd name="T102" fmla="*/ 160 w 3218"/>
                <a:gd name="T103" fmla="*/ 7 h 584"/>
                <a:gd name="T104" fmla="*/ 163 w 3218"/>
                <a:gd name="T105" fmla="*/ 372 h 584"/>
                <a:gd name="T106" fmla="*/ 388 w 3218"/>
                <a:gd name="T107" fmla="*/ 248 h 584"/>
                <a:gd name="T108" fmla="*/ 555 w 3218"/>
                <a:gd name="T109" fmla="*/ 225 h 584"/>
                <a:gd name="T110" fmla="*/ 693 w 3218"/>
                <a:gd name="T111" fmla="*/ 228 h 584"/>
                <a:gd name="T112" fmla="*/ 812 w 3218"/>
                <a:gd name="T113" fmla="*/ 225 h 584"/>
                <a:gd name="T114" fmla="*/ 961 w 3218"/>
                <a:gd name="T115" fmla="*/ 277 h 584"/>
                <a:gd name="T116" fmla="*/ 1079 w 3218"/>
                <a:gd name="T117" fmla="*/ 213 h 584"/>
                <a:gd name="T118" fmla="*/ 118 w 3218"/>
                <a:gd name="T119" fmla="*/ 341 h 584"/>
                <a:gd name="T120" fmla="*/ 956 w 3218"/>
                <a:gd name="T121" fmla="*/ 332 h 584"/>
                <a:gd name="T122" fmla="*/ 99 w 3218"/>
                <a:gd name="T123" fmla="*/ 197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18" h="584">
                  <a:moveTo>
                    <a:pt x="2879" y="212"/>
                  </a:moveTo>
                  <a:lnTo>
                    <a:pt x="2879" y="212"/>
                  </a:lnTo>
                  <a:cubicBezTo>
                    <a:pt x="2879" y="206"/>
                    <a:pt x="2882" y="203"/>
                    <a:pt x="2887" y="203"/>
                  </a:cubicBezTo>
                  <a:cubicBezTo>
                    <a:pt x="2894" y="203"/>
                    <a:pt x="2906" y="212"/>
                    <a:pt x="2912" y="228"/>
                  </a:cubicBezTo>
                  <a:cubicBezTo>
                    <a:pt x="2910" y="228"/>
                    <a:pt x="2907" y="229"/>
                    <a:pt x="2904" y="229"/>
                  </a:cubicBezTo>
                  <a:cubicBezTo>
                    <a:pt x="2890" y="229"/>
                    <a:pt x="2879" y="222"/>
                    <a:pt x="2879" y="212"/>
                  </a:cubicBezTo>
                  <a:lnTo>
                    <a:pt x="2879" y="212"/>
                  </a:lnTo>
                  <a:close/>
                  <a:moveTo>
                    <a:pt x="2035" y="212"/>
                  </a:moveTo>
                  <a:lnTo>
                    <a:pt x="2035" y="212"/>
                  </a:lnTo>
                  <a:cubicBezTo>
                    <a:pt x="2035" y="206"/>
                    <a:pt x="2039" y="203"/>
                    <a:pt x="2043" y="203"/>
                  </a:cubicBezTo>
                  <a:cubicBezTo>
                    <a:pt x="2051" y="203"/>
                    <a:pt x="2062" y="212"/>
                    <a:pt x="2068" y="228"/>
                  </a:cubicBezTo>
                  <a:cubicBezTo>
                    <a:pt x="2047" y="228"/>
                    <a:pt x="2035" y="223"/>
                    <a:pt x="2035" y="212"/>
                  </a:cubicBezTo>
                  <a:lnTo>
                    <a:pt x="2035" y="212"/>
                  </a:lnTo>
                  <a:close/>
                  <a:moveTo>
                    <a:pt x="2198" y="127"/>
                  </a:moveTo>
                  <a:lnTo>
                    <a:pt x="2198" y="127"/>
                  </a:lnTo>
                  <a:cubicBezTo>
                    <a:pt x="2198" y="40"/>
                    <a:pt x="2215" y="27"/>
                    <a:pt x="2220" y="27"/>
                  </a:cubicBezTo>
                  <a:cubicBezTo>
                    <a:pt x="2229" y="27"/>
                    <a:pt x="2230" y="33"/>
                    <a:pt x="2230" y="66"/>
                  </a:cubicBezTo>
                  <a:cubicBezTo>
                    <a:pt x="2230" y="101"/>
                    <a:pt x="2216" y="146"/>
                    <a:pt x="2198" y="170"/>
                  </a:cubicBezTo>
                  <a:lnTo>
                    <a:pt x="2198" y="127"/>
                  </a:lnTo>
                  <a:lnTo>
                    <a:pt x="2198" y="127"/>
                  </a:lnTo>
                  <a:close/>
                  <a:moveTo>
                    <a:pt x="1829" y="341"/>
                  </a:moveTo>
                  <a:lnTo>
                    <a:pt x="1829" y="341"/>
                  </a:lnTo>
                  <a:cubicBezTo>
                    <a:pt x="1834" y="371"/>
                    <a:pt x="1838" y="402"/>
                    <a:pt x="1838" y="426"/>
                  </a:cubicBezTo>
                  <a:cubicBezTo>
                    <a:pt x="1838" y="482"/>
                    <a:pt x="1819" y="547"/>
                    <a:pt x="1787" y="546"/>
                  </a:cubicBezTo>
                  <a:cubicBezTo>
                    <a:pt x="1775" y="546"/>
                    <a:pt x="1764" y="534"/>
                    <a:pt x="1764" y="513"/>
                  </a:cubicBezTo>
                  <a:cubicBezTo>
                    <a:pt x="1763" y="443"/>
                    <a:pt x="1796" y="383"/>
                    <a:pt x="1829" y="341"/>
                  </a:cubicBezTo>
                  <a:lnTo>
                    <a:pt x="1829" y="341"/>
                  </a:lnTo>
                  <a:close/>
                  <a:moveTo>
                    <a:pt x="2681" y="301"/>
                  </a:moveTo>
                  <a:lnTo>
                    <a:pt x="2681" y="301"/>
                  </a:lnTo>
                  <a:cubicBezTo>
                    <a:pt x="2685" y="311"/>
                    <a:pt x="2686" y="319"/>
                    <a:pt x="2686" y="327"/>
                  </a:cubicBezTo>
                  <a:cubicBezTo>
                    <a:pt x="2686" y="336"/>
                    <a:pt x="2683" y="346"/>
                    <a:pt x="2676" y="346"/>
                  </a:cubicBezTo>
                  <a:cubicBezTo>
                    <a:pt x="2672" y="346"/>
                    <a:pt x="2667" y="341"/>
                    <a:pt x="2667" y="332"/>
                  </a:cubicBezTo>
                  <a:cubicBezTo>
                    <a:pt x="2667" y="324"/>
                    <a:pt x="2675" y="310"/>
                    <a:pt x="2681" y="301"/>
                  </a:cubicBezTo>
                  <a:lnTo>
                    <a:pt x="2681" y="301"/>
                  </a:lnTo>
                  <a:close/>
                  <a:moveTo>
                    <a:pt x="1850" y="22"/>
                  </a:moveTo>
                  <a:lnTo>
                    <a:pt x="1850" y="22"/>
                  </a:lnTo>
                  <a:cubicBezTo>
                    <a:pt x="1850" y="26"/>
                    <a:pt x="1842" y="42"/>
                    <a:pt x="1831" y="71"/>
                  </a:cubicBezTo>
                  <a:cubicBezTo>
                    <a:pt x="1820" y="102"/>
                    <a:pt x="1810" y="145"/>
                    <a:pt x="1810" y="197"/>
                  </a:cubicBezTo>
                  <a:cubicBezTo>
                    <a:pt x="1810" y="228"/>
                    <a:pt x="1818" y="269"/>
                    <a:pt x="1824" y="310"/>
                  </a:cubicBezTo>
                  <a:lnTo>
                    <a:pt x="1805" y="335"/>
                  </a:lnTo>
                  <a:cubicBezTo>
                    <a:pt x="1775" y="299"/>
                    <a:pt x="1757" y="258"/>
                    <a:pt x="1757" y="188"/>
                  </a:cubicBezTo>
                  <a:cubicBezTo>
                    <a:pt x="1757" y="89"/>
                    <a:pt x="1817" y="20"/>
                    <a:pt x="1848" y="20"/>
                  </a:cubicBezTo>
                  <a:cubicBezTo>
                    <a:pt x="1850" y="20"/>
                    <a:pt x="1850" y="21"/>
                    <a:pt x="1850" y="22"/>
                  </a:cubicBezTo>
                  <a:lnTo>
                    <a:pt x="1850" y="22"/>
                  </a:lnTo>
                  <a:close/>
                  <a:moveTo>
                    <a:pt x="1753" y="314"/>
                  </a:moveTo>
                  <a:lnTo>
                    <a:pt x="1753" y="314"/>
                  </a:lnTo>
                  <a:cubicBezTo>
                    <a:pt x="1763" y="328"/>
                    <a:pt x="1776" y="341"/>
                    <a:pt x="1791" y="356"/>
                  </a:cubicBezTo>
                  <a:cubicBezTo>
                    <a:pt x="1760" y="406"/>
                    <a:pt x="1736" y="465"/>
                    <a:pt x="1736" y="517"/>
                  </a:cubicBezTo>
                  <a:cubicBezTo>
                    <a:pt x="1736" y="555"/>
                    <a:pt x="1745" y="584"/>
                    <a:pt x="1773" y="584"/>
                  </a:cubicBezTo>
                  <a:cubicBezTo>
                    <a:pt x="1831" y="584"/>
                    <a:pt x="1875" y="462"/>
                    <a:pt x="1875" y="372"/>
                  </a:cubicBezTo>
                  <a:cubicBezTo>
                    <a:pt x="1875" y="346"/>
                    <a:pt x="1874" y="319"/>
                    <a:pt x="1871" y="292"/>
                  </a:cubicBezTo>
                  <a:cubicBezTo>
                    <a:pt x="1893" y="269"/>
                    <a:pt x="1926" y="238"/>
                    <a:pt x="1934" y="235"/>
                  </a:cubicBezTo>
                  <a:cubicBezTo>
                    <a:pt x="1931" y="248"/>
                    <a:pt x="1928" y="261"/>
                    <a:pt x="1928" y="273"/>
                  </a:cubicBezTo>
                  <a:cubicBezTo>
                    <a:pt x="1928" y="322"/>
                    <a:pt x="1956" y="368"/>
                    <a:pt x="2011" y="368"/>
                  </a:cubicBezTo>
                  <a:cubicBezTo>
                    <a:pt x="2061" y="368"/>
                    <a:pt x="2100" y="327"/>
                    <a:pt x="2100" y="269"/>
                  </a:cubicBezTo>
                  <a:cubicBezTo>
                    <a:pt x="2100" y="262"/>
                    <a:pt x="2099" y="255"/>
                    <a:pt x="2099" y="248"/>
                  </a:cubicBezTo>
                  <a:cubicBezTo>
                    <a:pt x="2117" y="245"/>
                    <a:pt x="2134" y="240"/>
                    <a:pt x="2151" y="230"/>
                  </a:cubicBezTo>
                  <a:lnTo>
                    <a:pt x="2151" y="347"/>
                  </a:lnTo>
                  <a:cubicBezTo>
                    <a:pt x="2151" y="363"/>
                    <a:pt x="2161" y="368"/>
                    <a:pt x="2171" y="368"/>
                  </a:cubicBezTo>
                  <a:cubicBezTo>
                    <a:pt x="2185" y="368"/>
                    <a:pt x="2191" y="359"/>
                    <a:pt x="2201" y="338"/>
                  </a:cubicBezTo>
                  <a:cubicBezTo>
                    <a:pt x="2210" y="320"/>
                    <a:pt x="2232" y="280"/>
                    <a:pt x="2245" y="256"/>
                  </a:cubicBezTo>
                  <a:cubicBezTo>
                    <a:pt x="2256" y="237"/>
                    <a:pt x="2261" y="225"/>
                    <a:pt x="2266" y="225"/>
                  </a:cubicBezTo>
                  <a:cubicBezTo>
                    <a:pt x="2267" y="225"/>
                    <a:pt x="2269" y="228"/>
                    <a:pt x="2269" y="235"/>
                  </a:cubicBezTo>
                  <a:lnTo>
                    <a:pt x="2269" y="335"/>
                  </a:lnTo>
                  <a:cubicBezTo>
                    <a:pt x="2269" y="362"/>
                    <a:pt x="2283" y="368"/>
                    <a:pt x="2295" y="368"/>
                  </a:cubicBezTo>
                  <a:cubicBezTo>
                    <a:pt x="2306" y="368"/>
                    <a:pt x="2314" y="362"/>
                    <a:pt x="2322" y="352"/>
                  </a:cubicBezTo>
                  <a:cubicBezTo>
                    <a:pt x="2352" y="308"/>
                    <a:pt x="2384" y="257"/>
                    <a:pt x="2397" y="235"/>
                  </a:cubicBezTo>
                  <a:cubicBezTo>
                    <a:pt x="2399" y="231"/>
                    <a:pt x="2402" y="228"/>
                    <a:pt x="2404" y="228"/>
                  </a:cubicBezTo>
                  <a:cubicBezTo>
                    <a:pt x="2407" y="228"/>
                    <a:pt x="2408" y="229"/>
                    <a:pt x="2408" y="236"/>
                  </a:cubicBezTo>
                  <a:lnTo>
                    <a:pt x="2408" y="341"/>
                  </a:lnTo>
                  <a:cubicBezTo>
                    <a:pt x="2408" y="360"/>
                    <a:pt x="2414" y="368"/>
                    <a:pt x="2428" y="368"/>
                  </a:cubicBezTo>
                  <a:cubicBezTo>
                    <a:pt x="2442" y="368"/>
                    <a:pt x="2450" y="359"/>
                    <a:pt x="2456" y="348"/>
                  </a:cubicBezTo>
                  <a:cubicBezTo>
                    <a:pt x="2475" y="308"/>
                    <a:pt x="2504" y="255"/>
                    <a:pt x="2516" y="234"/>
                  </a:cubicBezTo>
                  <a:cubicBezTo>
                    <a:pt x="2519" y="229"/>
                    <a:pt x="2522" y="225"/>
                    <a:pt x="2524" y="225"/>
                  </a:cubicBezTo>
                  <a:cubicBezTo>
                    <a:pt x="2526" y="225"/>
                    <a:pt x="2526" y="228"/>
                    <a:pt x="2526" y="235"/>
                  </a:cubicBezTo>
                  <a:lnTo>
                    <a:pt x="2526" y="335"/>
                  </a:lnTo>
                  <a:cubicBezTo>
                    <a:pt x="2526" y="362"/>
                    <a:pt x="2540" y="368"/>
                    <a:pt x="2552" y="368"/>
                  </a:cubicBezTo>
                  <a:cubicBezTo>
                    <a:pt x="2569" y="368"/>
                    <a:pt x="2580" y="357"/>
                    <a:pt x="2590" y="344"/>
                  </a:cubicBezTo>
                  <a:cubicBezTo>
                    <a:pt x="2609" y="318"/>
                    <a:pt x="2637" y="273"/>
                    <a:pt x="2654" y="245"/>
                  </a:cubicBezTo>
                  <a:cubicBezTo>
                    <a:pt x="2660" y="254"/>
                    <a:pt x="2666" y="265"/>
                    <a:pt x="2672" y="277"/>
                  </a:cubicBezTo>
                  <a:cubicBezTo>
                    <a:pt x="2657" y="294"/>
                    <a:pt x="2644" y="314"/>
                    <a:pt x="2644" y="334"/>
                  </a:cubicBezTo>
                  <a:cubicBezTo>
                    <a:pt x="2644" y="355"/>
                    <a:pt x="2659" y="368"/>
                    <a:pt x="2675" y="368"/>
                  </a:cubicBezTo>
                  <a:cubicBezTo>
                    <a:pt x="2701" y="368"/>
                    <a:pt x="2726" y="343"/>
                    <a:pt x="2726" y="307"/>
                  </a:cubicBezTo>
                  <a:cubicBezTo>
                    <a:pt x="2726" y="293"/>
                    <a:pt x="2722" y="279"/>
                    <a:pt x="2716" y="265"/>
                  </a:cubicBezTo>
                  <a:cubicBezTo>
                    <a:pt x="2740" y="241"/>
                    <a:pt x="2769" y="219"/>
                    <a:pt x="2790" y="213"/>
                  </a:cubicBezTo>
                  <a:cubicBezTo>
                    <a:pt x="2780" y="227"/>
                    <a:pt x="2772" y="247"/>
                    <a:pt x="2772" y="273"/>
                  </a:cubicBezTo>
                  <a:cubicBezTo>
                    <a:pt x="2772" y="322"/>
                    <a:pt x="2800" y="368"/>
                    <a:pt x="2854" y="368"/>
                  </a:cubicBezTo>
                  <a:cubicBezTo>
                    <a:pt x="2907" y="368"/>
                    <a:pt x="2943" y="327"/>
                    <a:pt x="2943" y="269"/>
                  </a:cubicBezTo>
                  <a:cubicBezTo>
                    <a:pt x="2943" y="252"/>
                    <a:pt x="2943" y="250"/>
                    <a:pt x="2942" y="243"/>
                  </a:cubicBezTo>
                  <a:cubicBezTo>
                    <a:pt x="2954" y="238"/>
                    <a:pt x="2965" y="230"/>
                    <a:pt x="2973" y="223"/>
                  </a:cubicBezTo>
                  <a:cubicBezTo>
                    <a:pt x="2980" y="218"/>
                    <a:pt x="2985" y="215"/>
                    <a:pt x="2989" y="215"/>
                  </a:cubicBezTo>
                  <a:cubicBezTo>
                    <a:pt x="2994" y="215"/>
                    <a:pt x="2997" y="219"/>
                    <a:pt x="2997" y="227"/>
                  </a:cubicBezTo>
                  <a:lnTo>
                    <a:pt x="2997" y="341"/>
                  </a:lnTo>
                  <a:cubicBezTo>
                    <a:pt x="2997" y="360"/>
                    <a:pt x="3002" y="368"/>
                    <a:pt x="3017" y="368"/>
                  </a:cubicBezTo>
                  <a:cubicBezTo>
                    <a:pt x="3030" y="368"/>
                    <a:pt x="3040" y="359"/>
                    <a:pt x="3045" y="348"/>
                  </a:cubicBezTo>
                  <a:cubicBezTo>
                    <a:pt x="3064" y="308"/>
                    <a:pt x="3092" y="254"/>
                    <a:pt x="3104" y="234"/>
                  </a:cubicBezTo>
                  <a:cubicBezTo>
                    <a:pt x="3108" y="229"/>
                    <a:pt x="3110" y="226"/>
                    <a:pt x="3111" y="226"/>
                  </a:cubicBezTo>
                  <a:cubicBezTo>
                    <a:pt x="3114" y="226"/>
                    <a:pt x="3115" y="227"/>
                    <a:pt x="3115" y="235"/>
                  </a:cubicBezTo>
                  <a:lnTo>
                    <a:pt x="3115" y="326"/>
                  </a:lnTo>
                  <a:cubicBezTo>
                    <a:pt x="3115" y="352"/>
                    <a:pt x="3127" y="368"/>
                    <a:pt x="3152" y="368"/>
                  </a:cubicBezTo>
                  <a:cubicBezTo>
                    <a:pt x="3179" y="368"/>
                    <a:pt x="3193" y="343"/>
                    <a:pt x="3216" y="303"/>
                  </a:cubicBezTo>
                  <a:cubicBezTo>
                    <a:pt x="3217" y="301"/>
                    <a:pt x="3218" y="299"/>
                    <a:pt x="3218" y="297"/>
                  </a:cubicBezTo>
                  <a:cubicBezTo>
                    <a:pt x="3218" y="292"/>
                    <a:pt x="3213" y="289"/>
                    <a:pt x="3208" y="289"/>
                  </a:cubicBezTo>
                  <a:cubicBezTo>
                    <a:pt x="3203" y="289"/>
                    <a:pt x="3200" y="294"/>
                    <a:pt x="3183" y="314"/>
                  </a:cubicBezTo>
                  <a:cubicBezTo>
                    <a:pt x="3179" y="317"/>
                    <a:pt x="3176" y="322"/>
                    <a:pt x="3169" y="322"/>
                  </a:cubicBezTo>
                  <a:cubicBezTo>
                    <a:pt x="3167" y="322"/>
                    <a:pt x="3165" y="320"/>
                    <a:pt x="3165" y="316"/>
                  </a:cubicBezTo>
                  <a:lnTo>
                    <a:pt x="3165" y="214"/>
                  </a:lnTo>
                  <a:cubicBezTo>
                    <a:pt x="3165" y="186"/>
                    <a:pt x="3153" y="175"/>
                    <a:pt x="3137" y="175"/>
                  </a:cubicBezTo>
                  <a:cubicBezTo>
                    <a:pt x="3124" y="175"/>
                    <a:pt x="3114" y="180"/>
                    <a:pt x="3103" y="197"/>
                  </a:cubicBezTo>
                  <a:cubicBezTo>
                    <a:pt x="3083" y="226"/>
                    <a:pt x="3063" y="267"/>
                    <a:pt x="3052" y="289"/>
                  </a:cubicBezTo>
                  <a:cubicBezTo>
                    <a:pt x="3050" y="291"/>
                    <a:pt x="3049" y="294"/>
                    <a:pt x="3047" y="294"/>
                  </a:cubicBezTo>
                  <a:cubicBezTo>
                    <a:pt x="3046" y="294"/>
                    <a:pt x="3046" y="292"/>
                    <a:pt x="3046" y="289"/>
                  </a:cubicBezTo>
                  <a:lnTo>
                    <a:pt x="3046" y="214"/>
                  </a:lnTo>
                  <a:cubicBezTo>
                    <a:pt x="3046" y="192"/>
                    <a:pt x="3040" y="175"/>
                    <a:pt x="3017" y="175"/>
                  </a:cubicBezTo>
                  <a:cubicBezTo>
                    <a:pt x="2993" y="175"/>
                    <a:pt x="2981" y="192"/>
                    <a:pt x="2963" y="204"/>
                  </a:cubicBezTo>
                  <a:cubicBezTo>
                    <a:pt x="2952" y="212"/>
                    <a:pt x="2942" y="218"/>
                    <a:pt x="2935" y="221"/>
                  </a:cubicBezTo>
                  <a:cubicBezTo>
                    <a:pt x="2923" y="192"/>
                    <a:pt x="2901" y="177"/>
                    <a:pt x="2883" y="177"/>
                  </a:cubicBezTo>
                  <a:cubicBezTo>
                    <a:pt x="2865" y="178"/>
                    <a:pt x="2853" y="188"/>
                    <a:pt x="2853" y="207"/>
                  </a:cubicBezTo>
                  <a:cubicBezTo>
                    <a:pt x="2853" y="227"/>
                    <a:pt x="2864" y="240"/>
                    <a:pt x="2880" y="246"/>
                  </a:cubicBezTo>
                  <a:cubicBezTo>
                    <a:pt x="2889" y="249"/>
                    <a:pt x="2897" y="250"/>
                    <a:pt x="2909" y="250"/>
                  </a:cubicBezTo>
                  <a:cubicBezTo>
                    <a:pt x="2912" y="250"/>
                    <a:pt x="2915" y="250"/>
                    <a:pt x="2918" y="249"/>
                  </a:cubicBezTo>
                  <a:cubicBezTo>
                    <a:pt x="2919" y="255"/>
                    <a:pt x="2918" y="263"/>
                    <a:pt x="2918" y="270"/>
                  </a:cubicBezTo>
                  <a:cubicBezTo>
                    <a:pt x="2918" y="298"/>
                    <a:pt x="2901" y="327"/>
                    <a:pt x="2870" y="327"/>
                  </a:cubicBezTo>
                  <a:cubicBezTo>
                    <a:pt x="2837" y="327"/>
                    <a:pt x="2818" y="295"/>
                    <a:pt x="2818" y="259"/>
                  </a:cubicBezTo>
                  <a:cubicBezTo>
                    <a:pt x="2818" y="232"/>
                    <a:pt x="2826" y="209"/>
                    <a:pt x="2840" y="194"/>
                  </a:cubicBezTo>
                  <a:cubicBezTo>
                    <a:pt x="2845" y="188"/>
                    <a:pt x="2849" y="184"/>
                    <a:pt x="2849" y="178"/>
                  </a:cubicBezTo>
                  <a:cubicBezTo>
                    <a:pt x="2849" y="176"/>
                    <a:pt x="2845" y="175"/>
                    <a:pt x="2842" y="175"/>
                  </a:cubicBezTo>
                  <a:cubicBezTo>
                    <a:pt x="2819" y="175"/>
                    <a:pt x="2795" y="185"/>
                    <a:pt x="2778" y="194"/>
                  </a:cubicBezTo>
                  <a:cubicBezTo>
                    <a:pt x="2756" y="206"/>
                    <a:pt x="2729" y="225"/>
                    <a:pt x="2708" y="244"/>
                  </a:cubicBezTo>
                  <a:cubicBezTo>
                    <a:pt x="2697" y="221"/>
                    <a:pt x="2685" y="200"/>
                    <a:pt x="2678" y="184"/>
                  </a:cubicBezTo>
                  <a:cubicBezTo>
                    <a:pt x="2676" y="178"/>
                    <a:pt x="2674" y="171"/>
                    <a:pt x="2669" y="171"/>
                  </a:cubicBezTo>
                  <a:cubicBezTo>
                    <a:pt x="2665" y="171"/>
                    <a:pt x="2663" y="175"/>
                    <a:pt x="2661" y="183"/>
                  </a:cubicBezTo>
                  <a:cubicBezTo>
                    <a:pt x="2650" y="214"/>
                    <a:pt x="2594" y="304"/>
                    <a:pt x="2582" y="316"/>
                  </a:cubicBezTo>
                  <a:cubicBezTo>
                    <a:pt x="2581" y="318"/>
                    <a:pt x="2579" y="320"/>
                    <a:pt x="2578" y="320"/>
                  </a:cubicBezTo>
                  <a:cubicBezTo>
                    <a:pt x="2577" y="320"/>
                    <a:pt x="2577" y="320"/>
                    <a:pt x="2577" y="316"/>
                  </a:cubicBezTo>
                  <a:lnTo>
                    <a:pt x="2577" y="214"/>
                  </a:lnTo>
                  <a:cubicBezTo>
                    <a:pt x="2577" y="186"/>
                    <a:pt x="2565" y="175"/>
                    <a:pt x="2550" y="175"/>
                  </a:cubicBezTo>
                  <a:cubicBezTo>
                    <a:pt x="2537" y="175"/>
                    <a:pt x="2526" y="180"/>
                    <a:pt x="2516" y="197"/>
                  </a:cubicBezTo>
                  <a:cubicBezTo>
                    <a:pt x="2497" y="226"/>
                    <a:pt x="2473" y="269"/>
                    <a:pt x="2462" y="290"/>
                  </a:cubicBezTo>
                  <a:cubicBezTo>
                    <a:pt x="2460" y="293"/>
                    <a:pt x="2459" y="294"/>
                    <a:pt x="2458" y="294"/>
                  </a:cubicBezTo>
                  <a:cubicBezTo>
                    <a:pt x="2457" y="294"/>
                    <a:pt x="2457" y="292"/>
                    <a:pt x="2457" y="289"/>
                  </a:cubicBezTo>
                  <a:lnTo>
                    <a:pt x="2457" y="214"/>
                  </a:lnTo>
                  <a:cubicBezTo>
                    <a:pt x="2457" y="186"/>
                    <a:pt x="2446" y="175"/>
                    <a:pt x="2431" y="175"/>
                  </a:cubicBezTo>
                  <a:cubicBezTo>
                    <a:pt x="2418" y="175"/>
                    <a:pt x="2405" y="180"/>
                    <a:pt x="2396" y="197"/>
                  </a:cubicBezTo>
                  <a:cubicBezTo>
                    <a:pt x="2371" y="238"/>
                    <a:pt x="2330" y="302"/>
                    <a:pt x="2323" y="312"/>
                  </a:cubicBezTo>
                  <a:cubicBezTo>
                    <a:pt x="2322" y="314"/>
                    <a:pt x="2321" y="316"/>
                    <a:pt x="2319" y="316"/>
                  </a:cubicBezTo>
                  <a:cubicBezTo>
                    <a:pt x="2318" y="316"/>
                    <a:pt x="2317" y="315"/>
                    <a:pt x="2317" y="312"/>
                  </a:cubicBezTo>
                  <a:lnTo>
                    <a:pt x="2317" y="214"/>
                  </a:lnTo>
                  <a:cubicBezTo>
                    <a:pt x="2317" y="186"/>
                    <a:pt x="2306" y="175"/>
                    <a:pt x="2291" y="175"/>
                  </a:cubicBezTo>
                  <a:cubicBezTo>
                    <a:pt x="2270" y="175"/>
                    <a:pt x="2258" y="195"/>
                    <a:pt x="2251" y="207"/>
                  </a:cubicBezTo>
                  <a:cubicBezTo>
                    <a:pt x="2241" y="224"/>
                    <a:pt x="2227" y="247"/>
                    <a:pt x="2215" y="267"/>
                  </a:cubicBezTo>
                  <a:cubicBezTo>
                    <a:pt x="2208" y="281"/>
                    <a:pt x="2201" y="294"/>
                    <a:pt x="2199" y="294"/>
                  </a:cubicBezTo>
                  <a:cubicBezTo>
                    <a:pt x="2198" y="294"/>
                    <a:pt x="2198" y="289"/>
                    <a:pt x="2198" y="279"/>
                  </a:cubicBezTo>
                  <a:lnTo>
                    <a:pt x="2198" y="201"/>
                  </a:lnTo>
                  <a:cubicBezTo>
                    <a:pt x="2235" y="160"/>
                    <a:pt x="2257" y="110"/>
                    <a:pt x="2257" y="55"/>
                  </a:cubicBezTo>
                  <a:cubicBezTo>
                    <a:pt x="2257" y="23"/>
                    <a:pt x="2243" y="6"/>
                    <a:pt x="2222" y="6"/>
                  </a:cubicBezTo>
                  <a:cubicBezTo>
                    <a:pt x="2181" y="6"/>
                    <a:pt x="2151" y="69"/>
                    <a:pt x="2151" y="144"/>
                  </a:cubicBezTo>
                  <a:lnTo>
                    <a:pt x="2151" y="204"/>
                  </a:lnTo>
                  <a:cubicBezTo>
                    <a:pt x="2132" y="216"/>
                    <a:pt x="2114" y="222"/>
                    <a:pt x="2093" y="226"/>
                  </a:cubicBezTo>
                  <a:cubicBezTo>
                    <a:pt x="2082" y="194"/>
                    <a:pt x="2058" y="177"/>
                    <a:pt x="2040" y="177"/>
                  </a:cubicBezTo>
                  <a:cubicBezTo>
                    <a:pt x="2022" y="178"/>
                    <a:pt x="2009" y="188"/>
                    <a:pt x="2009" y="207"/>
                  </a:cubicBezTo>
                  <a:cubicBezTo>
                    <a:pt x="2009" y="238"/>
                    <a:pt x="2039" y="251"/>
                    <a:pt x="2066" y="251"/>
                  </a:cubicBezTo>
                  <a:lnTo>
                    <a:pt x="2073" y="251"/>
                  </a:lnTo>
                  <a:cubicBezTo>
                    <a:pt x="2075" y="257"/>
                    <a:pt x="2075" y="263"/>
                    <a:pt x="2075" y="270"/>
                  </a:cubicBezTo>
                  <a:cubicBezTo>
                    <a:pt x="2075" y="298"/>
                    <a:pt x="2058" y="327"/>
                    <a:pt x="2026" y="327"/>
                  </a:cubicBezTo>
                  <a:cubicBezTo>
                    <a:pt x="1994" y="327"/>
                    <a:pt x="1974" y="295"/>
                    <a:pt x="1974" y="259"/>
                  </a:cubicBezTo>
                  <a:cubicBezTo>
                    <a:pt x="1974" y="232"/>
                    <a:pt x="1983" y="209"/>
                    <a:pt x="1996" y="194"/>
                  </a:cubicBezTo>
                  <a:cubicBezTo>
                    <a:pt x="2001" y="188"/>
                    <a:pt x="2005" y="183"/>
                    <a:pt x="2005" y="178"/>
                  </a:cubicBezTo>
                  <a:cubicBezTo>
                    <a:pt x="2005" y="176"/>
                    <a:pt x="2001" y="175"/>
                    <a:pt x="1998" y="175"/>
                  </a:cubicBezTo>
                  <a:cubicBezTo>
                    <a:pt x="1976" y="175"/>
                    <a:pt x="1927" y="205"/>
                    <a:pt x="1868" y="263"/>
                  </a:cubicBezTo>
                  <a:cubicBezTo>
                    <a:pt x="1863" y="217"/>
                    <a:pt x="1857" y="171"/>
                    <a:pt x="1857" y="127"/>
                  </a:cubicBezTo>
                  <a:cubicBezTo>
                    <a:pt x="1857" y="77"/>
                    <a:pt x="1867" y="35"/>
                    <a:pt x="1869" y="23"/>
                  </a:cubicBezTo>
                  <a:cubicBezTo>
                    <a:pt x="1871" y="16"/>
                    <a:pt x="1871" y="11"/>
                    <a:pt x="1871" y="7"/>
                  </a:cubicBezTo>
                  <a:cubicBezTo>
                    <a:pt x="1871" y="3"/>
                    <a:pt x="1869" y="0"/>
                    <a:pt x="1862" y="0"/>
                  </a:cubicBezTo>
                  <a:cubicBezTo>
                    <a:pt x="1815" y="0"/>
                    <a:pt x="1711" y="75"/>
                    <a:pt x="1711" y="188"/>
                  </a:cubicBezTo>
                  <a:cubicBezTo>
                    <a:pt x="1711" y="234"/>
                    <a:pt x="1721" y="267"/>
                    <a:pt x="1739" y="295"/>
                  </a:cubicBezTo>
                  <a:cubicBezTo>
                    <a:pt x="1732" y="294"/>
                    <a:pt x="1727" y="294"/>
                    <a:pt x="1722" y="294"/>
                  </a:cubicBezTo>
                  <a:cubicBezTo>
                    <a:pt x="1704" y="294"/>
                    <a:pt x="1686" y="299"/>
                    <a:pt x="1675" y="302"/>
                  </a:cubicBezTo>
                  <a:lnTo>
                    <a:pt x="1675" y="290"/>
                  </a:lnTo>
                  <a:cubicBezTo>
                    <a:pt x="1675" y="265"/>
                    <a:pt x="1669" y="230"/>
                    <a:pt x="1659" y="219"/>
                  </a:cubicBezTo>
                  <a:cubicBezTo>
                    <a:pt x="1657" y="217"/>
                    <a:pt x="1656" y="217"/>
                    <a:pt x="1654" y="217"/>
                  </a:cubicBezTo>
                  <a:cubicBezTo>
                    <a:pt x="1649" y="217"/>
                    <a:pt x="1644" y="219"/>
                    <a:pt x="1637" y="223"/>
                  </a:cubicBezTo>
                  <a:cubicBezTo>
                    <a:pt x="1630" y="226"/>
                    <a:pt x="1623" y="230"/>
                    <a:pt x="1623" y="232"/>
                  </a:cubicBezTo>
                  <a:cubicBezTo>
                    <a:pt x="1623" y="233"/>
                    <a:pt x="1623" y="234"/>
                    <a:pt x="1625" y="237"/>
                  </a:cubicBezTo>
                  <a:cubicBezTo>
                    <a:pt x="1629" y="243"/>
                    <a:pt x="1640" y="255"/>
                    <a:pt x="1644" y="282"/>
                  </a:cubicBezTo>
                  <a:cubicBezTo>
                    <a:pt x="1624" y="262"/>
                    <a:pt x="1602" y="253"/>
                    <a:pt x="1572" y="253"/>
                  </a:cubicBezTo>
                  <a:cubicBezTo>
                    <a:pt x="1537" y="253"/>
                    <a:pt x="1526" y="269"/>
                    <a:pt x="1526" y="285"/>
                  </a:cubicBezTo>
                  <a:cubicBezTo>
                    <a:pt x="1526" y="316"/>
                    <a:pt x="1567" y="331"/>
                    <a:pt x="1618" y="331"/>
                  </a:cubicBezTo>
                  <a:cubicBezTo>
                    <a:pt x="1627" y="331"/>
                    <a:pt x="1637" y="329"/>
                    <a:pt x="1648" y="326"/>
                  </a:cubicBezTo>
                  <a:cubicBezTo>
                    <a:pt x="1648" y="336"/>
                    <a:pt x="1649" y="344"/>
                    <a:pt x="1649" y="351"/>
                  </a:cubicBezTo>
                  <a:cubicBezTo>
                    <a:pt x="1649" y="361"/>
                    <a:pt x="1650" y="368"/>
                    <a:pt x="1657" y="368"/>
                  </a:cubicBezTo>
                  <a:cubicBezTo>
                    <a:pt x="1667" y="368"/>
                    <a:pt x="1673" y="349"/>
                    <a:pt x="1674" y="320"/>
                  </a:cubicBezTo>
                  <a:cubicBezTo>
                    <a:pt x="1692" y="316"/>
                    <a:pt x="1711" y="311"/>
                    <a:pt x="1727" y="311"/>
                  </a:cubicBezTo>
                  <a:cubicBezTo>
                    <a:pt x="1734" y="311"/>
                    <a:pt x="1743" y="312"/>
                    <a:pt x="1753" y="314"/>
                  </a:cubicBezTo>
                  <a:lnTo>
                    <a:pt x="1753" y="314"/>
                  </a:lnTo>
                  <a:close/>
                  <a:moveTo>
                    <a:pt x="1638" y="308"/>
                  </a:moveTo>
                  <a:lnTo>
                    <a:pt x="1638" y="308"/>
                  </a:lnTo>
                  <a:cubicBezTo>
                    <a:pt x="1628" y="310"/>
                    <a:pt x="1622" y="310"/>
                    <a:pt x="1612" y="310"/>
                  </a:cubicBezTo>
                  <a:cubicBezTo>
                    <a:pt x="1589" y="310"/>
                    <a:pt x="1572" y="301"/>
                    <a:pt x="1572" y="288"/>
                  </a:cubicBezTo>
                  <a:cubicBezTo>
                    <a:pt x="1572" y="280"/>
                    <a:pt x="1576" y="275"/>
                    <a:pt x="1588" y="275"/>
                  </a:cubicBezTo>
                  <a:cubicBezTo>
                    <a:pt x="1606" y="275"/>
                    <a:pt x="1621" y="288"/>
                    <a:pt x="1638" y="308"/>
                  </a:cubicBezTo>
                  <a:lnTo>
                    <a:pt x="1638" y="308"/>
                  </a:lnTo>
                  <a:close/>
                  <a:moveTo>
                    <a:pt x="1168" y="212"/>
                  </a:moveTo>
                  <a:lnTo>
                    <a:pt x="1168" y="212"/>
                  </a:lnTo>
                  <a:cubicBezTo>
                    <a:pt x="1168" y="206"/>
                    <a:pt x="1171" y="203"/>
                    <a:pt x="1176" y="203"/>
                  </a:cubicBezTo>
                  <a:cubicBezTo>
                    <a:pt x="1183" y="203"/>
                    <a:pt x="1195" y="212"/>
                    <a:pt x="1201" y="228"/>
                  </a:cubicBezTo>
                  <a:cubicBezTo>
                    <a:pt x="1199" y="228"/>
                    <a:pt x="1195" y="229"/>
                    <a:pt x="1193" y="229"/>
                  </a:cubicBezTo>
                  <a:cubicBezTo>
                    <a:pt x="1179" y="229"/>
                    <a:pt x="1168" y="222"/>
                    <a:pt x="1168" y="212"/>
                  </a:cubicBezTo>
                  <a:lnTo>
                    <a:pt x="1168" y="212"/>
                  </a:lnTo>
                  <a:close/>
                  <a:moveTo>
                    <a:pt x="324" y="212"/>
                  </a:moveTo>
                  <a:lnTo>
                    <a:pt x="324" y="212"/>
                  </a:lnTo>
                  <a:cubicBezTo>
                    <a:pt x="324" y="206"/>
                    <a:pt x="328" y="203"/>
                    <a:pt x="332" y="203"/>
                  </a:cubicBezTo>
                  <a:cubicBezTo>
                    <a:pt x="339" y="203"/>
                    <a:pt x="351" y="212"/>
                    <a:pt x="357" y="228"/>
                  </a:cubicBezTo>
                  <a:cubicBezTo>
                    <a:pt x="336" y="228"/>
                    <a:pt x="324" y="223"/>
                    <a:pt x="324" y="212"/>
                  </a:cubicBezTo>
                  <a:lnTo>
                    <a:pt x="324" y="212"/>
                  </a:lnTo>
                  <a:close/>
                  <a:moveTo>
                    <a:pt x="487" y="127"/>
                  </a:moveTo>
                  <a:lnTo>
                    <a:pt x="487" y="127"/>
                  </a:lnTo>
                  <a:cubicBezTo>
                    <a:pt x="487" y="40"/>
                    <a:pt x="504" y="27"/>
                    <a:pt x="509" y="27"/>
                  </a:cubicBezTo>
                  <a:cubicBezTo>
                    <a:pt x="518" y="27"/>
                    <a:pt x="519" y="33"/>
                    <a:pt x="519" y="66"/>
                  </a:cubicBezTo>
                  <a:cubicBezTo>
                    <a:pt x="519" y="101"/>
                    <a:pt x="505" y="146"/>
                    <a:pt x="487" y="170"/>
                  </a:cubicBezTo>
                  <a:lnTo>
                    <a:pt x="487" y="127"/>
                  </a:lnTo>
                  <a:lnTo>
                    <a:pt x="487" y="127"/>
                  </a:lnTo>
                  <a:close/>
                  <a:moveTo>
                    <a:pt x="1079" y="213"/>
                  </a:moveTo>
                  <a:lnTo>
                    <a:pt x="1079" y="213"/>
                  </a:lnTo>
                  <a:cubicBezTo>
                    <a:pt x="1069" y="227"/>
                    <a:pt x="1061" y="247"/>
                    <a:pt x="1061" y="273"/>
                  </a:cubicBezTo>
                  <a:cubicBezTo>
                    <a:pt x="1061" y="322"/>
                    <a:pt x="1089" y="368"/>
                    <a:pt x="1143" y="368"/>
                  </a:cubicBezTo>
                  <a:cubicBezTo>
                    <a:pt x="1195" y="368"/>
                    <a:pt x="1233" y="327"/>
                    <a:pt x="1233" y="269"/>
                  </a:cubicBezTo>
                  <a:cubicBezTo>
                    <a:pt x="1233" y="252"/>
                    <a:pt x="1232" y="250"/>
                    <a:pt x="1231" y="243"/>
                  </a:cubicBezTo>
                  <a:cubicBezTo>
                    <a:pt x="1243" y="238"/>
                    <a:pt x="1253" y="230"/>
                    <a:pt x="1262" y="223"/>
                  </a:cubicBezTo>
                  <a:cubicBezTo>
                    <a:pt x="1269" y="218"/>
                    <a:pt x="1274" y="215"/>
                    <a:pt x="1278" y="215"/>
                  </a:cubicBezTo>
                  <a:cubicBezTo>
                    <a:pt x="1283" y="215"/>
                    <a:pt x="1285" y="219"/>
                    <a:pt x="1285" y="227"/>
                  </a:cubicBezTo>
                  <a:lnTo>
                    <a:pt x="1285" y="341"/>
                  </a:lnTo>
                  <a:cubicBezTo>
                    <a:pt x="1285" y="360"/>
                    <a:pt x="1291" y="368"/>
                    <a:pt x="1306" y="368"/>
                  </a:cubicBezTo>
                  <a:cubicBezTo>
                    <a:pt x="1319" y="368"/>
                    <a:pt x="1329" y="359"/>
                    <a:pt x="1334" y="348"/>
                  </a:cubicBezTo>
                  <a:cubicBezTo>
                    <a:pt x="1353" y="308"/>
                    <a:pt x="1381" y="254"/>
                    <a:pt x="1393" y="234"/>
                  </a:cubicBezTo>
                  <a:cubicBezTo>
                    <a:pt x="1396" y="229"/>
                    <a:pt x="1398" y="226"/>
                    <a:pt x="1400" y="226"/>
                  </a:cubicBezTo>
                  <a:cubicBezTo>
                    <a:pt x="1403" y="226"/>
                    <a:pt x="1404" y="227"/>
                    <a:pt x="1404" y="235"/>
                  </a:cubicBezTo>
                  <a:lnTo>
                    <a:pt x="1404" y="326"/>
                  </a:lnTo>
                  <a:cubicBezTo>
                    <a:pt x="1404" y="352"/>
                    <a:pt x="1416" y="368"/>
                    <a:pt x="1441" y="368"/>
                  </a:cubicBezTo>
                  <a:cubicBezTo>
                    <a:pt x="1468" y="368"/>
                    <a:pt x="1482" y="343"/>
                    <a:pt x="1505" y="303"/>
                  </a:cubicBezTo>
                  <a:cubicBezTo>
                    <a:pt x="1506" y="301"/>
                    <a:pt x="1506" y="299"/>
                    <a:pt x="1506" y="297"/>
                  </a:cubicBezTo>
                  <a:cubicBezTo>
                    <a:pt x="1506" y="292"/>
                    <a:pt x="1502" y="289"/>
                    <a:pt x="1497" y="289"/>
                  </a:cubicBezTo>
                  <a:cubicBezTo>
                    <a:pt x="1492" y="289"/>
                    <a:pt x="1489" y="294"/>
                    <a:pt x="1472" y="314"/>
                  </a:cubicBezTo>
                  <a:cubicBezTo>
                    <a:pt x="1468" y="317"/>
                    <a:pt x="1464" y="322"/>
                    <a:pt x="1458" y="322"/>
                  </a:cubicBezTo>
                  <a:cubicBezTo>
                    <a:pt x="1456" y="322"/>
                    <a:pt x="1454" y="320"/>
                    <a:pt x="1454" y="316"/>
                  </a:cubicBezTo>
                  <a:lnTo>
                    <a:pt x="1454" y="214"/>
                  </a:lnTo>
                  <a:cubicBezTo>
                    <a:pt x="1454" y="186"/>
                    <a:pt x="1442" y="175"/>
                    <a:pt x="1426" y="175"/>
                  </a:cubicBezTo>
                  <a:cubicBezTo>
                    <a:pt x="1413" y="175"/>
                    <a:pt x="1403" y="180"/>
                    <a:pt x="1392" y="197"/>
                  </a:cubicBezTo>
                  <a:cubicBezTo>
                    <a:pt x="1372" y="226"/>
                    <a:pt x="1352" y="267"/>
                    <a:pt x="1340" y="289"/>
                  </a:cubicBezTo>
                  <a:cubicBezTo>
                    <a:pt x="1339" y="291"/>
                    <a:pt x="1337" y="294"/>
                    <a:pt x="1336" y="294"/>
                  </a:cubicBezTo>
                  <a:cubicBezTo>
                    <a:pt x="1335" y="294"/>
                    <a:pt x="1335" y="292"/>
                    <a:pt x="1335" y="289"/>
                  </a:cubicBezTo>
                  <a:lnTo>
                    <a:pt x="1335" y="214"/>
                  </a:lnTo>
                  <a:cubicBezTo>
                    <a:pt x="1335" y="192"/>
                    <a:pt x="1329" y="175"/>
                    <a:pt x="1306" y="175"/>
                  </a:cubicBezTo>
                  <a:cubicBezTo>
                    <a:pt x="1282" y="175"/>
                    <a:pt x="1270" y="192"/>
                    <a:pt x="1252" y="204"/>
                  </a:cubicBezTo>
                  <a:cubicBezTo>
                    <a:pt x="1241" y="212"/>
                    <a:pt x="1231" y="218"/>
                    <a:pt x="1224" y="221"/>
                  </a:cubicBezTo>
                  <a:cubicBezTo>
                    <a:pt x="1212" y="192"/>
                    <a:pt x="1190" y="177"/>
                    <a:pt x="1173" y="177"/>
                  </a:cubicBezTo>
                  <a:cubicBezTo>
                    <a:pt x="1154" y="178"/>
                    <a:pt x="1141" y="188"/>
                    <a:pt x="1141" y="207"/>
                  </a:cubicBezTo>
                  <a:cubicBezTo>
                    <a:pt x="1141" y="227"/>
                    <a:pt x="1153" y="240"/>
                    <a:pt x="1169" y="246"/>
                  </a:cubicBezTo>
                  <a:cubicBezTo>
                    <a:pt x="1178" y="249"/>
                    <a:pt x="1186" y="250"/>
                    <a:pt x="1197" y="250"/>
                  </a:cubicBezTo>
                  <a:cubicBezTo>
                    <a:pt x="1201" y="250"/>
                    <a:pt x="1204" y="250"/>
                    <a:pt x="1206" y="249"/>
                  </a:cubicBezTo>
                  <a:cubicBezTo>
                    <a:pt x="1208" y="255"/>
                    <a:pt x="1207" y="263"/>
                    <a:pt x="1207" y="270"/>
                  </a:cubicBezTo>
                  <a:cubicBezTo>
                    <a:pt x="1207" y="298"/>
                    <a:pt x="1190" y="327"/>
                    <a:pt x="1159" y="327"/>
                  </a:cubicBezTo>
                  <a:cubicBezTo>
                    <a:pt x="1126" y="327"/>
                    <a:pt x="1107" y="295"/>
                    <a:pt x="1107" y="259"/>
                  </a:cubicBezTo>
                  <a:cubicBezTo>
                    <a:pt x="1107" y="232"/>
                    <a:pt x="1115" y="209"/>
                    <a:pt x="1128" y="194"/>
                  </a:cubicBezTo>
                  <a:cubicBezTo>
                    <a:pt x="1134" y="188"/>
                    <a:pt x="1138" y="184"/>
                    <a:pt x="1138" y="178"/>
                  </a:cubicBezTo>
                  <a:cubicBezTo>
                    <a:pt x="1138" y="176"/>
                    <a:pt x="1134" y="175"/>
                    <a:pt x="1130" y="175"/>
                  </a:cubicBezTo>
                  <a:cubicBezTo>
                    <a:pt x="1108" y="175"/>
                    <a:pt x="1084" y="185"/>
                    <a:pt x="1067" y="194"/>
                  </a:cubicBezTo>
                  <a:cubicBezTo>
                    <a:pt x="1045" y="206"/>
                    <a:pt x="1018" y="225"/>
                    <a:pt x="997" y="244"/>
                  </a:cubicBezTo>
                  <a:cubicBezTo>
                    <a:pt x="986" y="221"/>
                    <a:pt x="973" y="200"/>
                    <a:pt x="967" y="184"/>
                  </a:cubicBezTo>
                  <a:cubicBezTo>
                    <a:pt x="964" y="178"/>
                    <a:pt x="963" y="171"/>
                    <a:pt x="958" y="171"/>
                  </a:cubicBezTo>
                  <a:cubicBezTo>
                    <a:pt x="954" y="171"/>
                    <a:pt x="952" y="175"/>
                    <a:pt x="949" y="183"/>
                  </a:cubicBezTo>
                  <a:cubicBezTo>
                    <a:pt x="939" y="214"/>
                    <a:pt x="883" y="304"/>
                    <a:pt x="871" y="316"/>
                  </a:cubicBezTo>
                  <a:cubicBezTo>
                    <a:pt x="869" y="318"/>
                    <a:pt x="868" y="320"/>
                    <a:pt x="867" y="320"/>
                  </a:cubicBezTo>
                  <a:cubicBezTo>
                    <a:pt x="866" y="320"/>
                    <a:pt x="865" y="320"/>
                    <a:pt x="865" y="316"/>
                  </a:cubicBezTo>
                  <a:lnTo>
                    <a:pt x="865" y="214"/>
                  </a:lnTo>
                  <a:cubicBezTo>
                    <a:pt x="865" y="186"/>
                    <a:pt x="854" y="175"/>
                    <a:pt x="839" y="175"/>
                  </a:cubicBezTo>
                  <a:cubicBezTo>
                    <a:pt x="826" y="175"/>
                    <a:pt x="815" y="180"/>
                    <a:pt x="805" y="197"/>
                  </a:cubicBezTo>
                  <a:cubicBezTo>
                    <a:pt x="786" y="226"/>
                    <a:pt x="762" y="269"/>
                    <a:pt x="751" y="290"/>
                  </a:cubicBezTo>
                  <a:cubicBezTo>
                    <a:pt x="749" y="293"/>
                    <a:pt x="748" y="294"/>
                    <a:pt x="747" y="294"/>
                  </a:cubicBezTo>
                  <a:cubicBezTo>
                    <a:pt x="746" y="294"/>
                    <a:pt x="746" y="292"/>
                    <a:pt x="746" y="289"/>
                  </a:cubicBezTo>
                  <a:lnTo>
                    <a:pt x="746" y="214"/>
                  </a:lnTo>
                  <a:cubicBezTo>
                    <a:pt x="746" y="186"/>
                    <a:pt x="735" y="175"/>
                    <a:pt x="720" y="175"/>
                  </a:cubicBezTo>
                  <a:cubicBezTo>
                    <a:pt x="707" y="175"/>
                    <a:pt x="694" y="180"/>
                    <a:pt x="684" y="197"/>
                  </a:cubicBezTo>
                  <a:cubicBezTo>
                    <a:pt x="660" y="238"/>
                    <a:pt x="619" y="302"/>
                    <a:pt x="611" y="312"/>
                  </a:cubicBezTo>
                  <a:cubicBezTo>
                    <a:pt x="610" y="314"/>
                    <a:pt x="609" y="316"/>
                    <a:pt x="608" y="316"/>
                  </a:cubicBezTo>
                  <a:cubicBezTo>
                    <a:pt x="607" y="316"/>
                    <a:pt x="606" y="315"/>
                    <a:pt x="606" y="312"/>
                  </a:cubicBezTo>
                  <a:lnTo>
                    <a:pt x="606" y="214"/>
                  </a:lnTo>
                  <a:cubicBezTo>
                    <a:pt x="606" y="186"/>
                    <a:pt x="595" y="175"/>
                    <a:pt x="580" y="175"/>
                  </a:cubicBezTo>
                  <a:cubicBezTo>
                    <a:pt x="559" y="175"/>
                    <a:pt x="548" y="195"/>
                    <a:pt x="540" y="207"/>
                  </a:cubicBezTo>
                  <a:cubicBezTo>
                    <a:pt x="529" y="224"/>
                    <a:pt x="515" y="247"/>
                    <a:pt x="504" y="267"/>
                  </a:cubicBezTo>
                  <a:cubicBezTo>
                    <a:pt x="497" y="281"/>
                    <a:pt x="490" y="294"/>
                    <a:pt x="488" y="294"/>
                  </a:cubicBezTo>
                  <a:cubicBezTo>
                    <a:pt x="487" y="294"/>
                    <a:pt x="487" y="289"/>
                    <a:pt x="487" y="279"/>
                  </a:cubicBezTo>
                  <a:lnTo>
                    <a:pt x="487" y="201"/>
                  </a:lnTo>
                  <a:cubicBezTo>
                    <a:pt x="524" y="160"/>
                    <a:pt x="546" y="110"/>
                    <a:pt x="546" y="55"/>
                  </a:cubicBezTo>
                  <a:cubicBezTo>
                    <a:pt x="546" y="23"/>
                    <a:pt x="532" y="6"/>
                    <a:pt x="511" y="6"/>
                  </a:cubicBezTo>
                  <a:cubicBezTo>
                    <a:pt x="470" y="6"/>
                    <a:pt x="440" y="69"/>
                    <a:pt x="440" y="144"/>
                  </a:cubicBezTo>
                  <a:lnTo>
                    <a:pt x="440" y="204"/>
                  </a:lnTo>
                  <a:cubicBezTo>
                    <a:pt x="421" y="216"/>
                    <a:pt x="403" y="222"/>
                    <a:pt x="382" y="226"/>
                  </a:cubicBezTo>
                  <a:cubicBezTo>
                    <a:pt x="371" y="194"/>
                    <a:pt x="347" y="177"/>
                    <a:pt x="329" y="177"/>
                  </a:cubicBezTo>
                  <a:cubicBezTo>
                    <a:pt x="311" y="178"/>
                    <a:pt x="298" y="188"/>
                    <a:pt x="298" y="207"/>
                  </a:cubicBezTo>
                  <a:cubicBezTo>
                    <a:pt x="298" y="238"/>
                    <a:pt x="328" y="251"/>
                    <a:pt x="355" y="251"/>
                  </a:cubicBezTo>
                  <a:lnTo>
                    <a:pt x="362" y="251"/>
                  </a:lnTo>
                  <a:cubicBezTo>
                    <a:pt x="364" y="257"/>
                    <a:pt x="364" y="263"/>
                    <a:pt x="364" y="270"/>
                  </a:cubicBezTo>
                  <a:cubicBezTo>
                    <a:pt x="364" y="298"/>
                    <a:pt x="347" y="327"/>
                    <a:pt x="315" y="327"/>
                  </a:cubicBezTo>
                  <a:cubicBezTo>
                    <a:pt x="283" y="327"/>
                    <a:pt x="263" y="295"/>
                    <a:pt x="263" y="259"/>
                  </a:cubicBezTo>
                  <a:cubicBezTo>
                    <a:pt x="263" y="232"/>
                    <a:pt x="271" y="209"/>
                    <a:pt x="285" y="194"/>
                  </a:cubicBezTo>
                  <a:cubicBezTo>
                    <a:pt x="290" y="188"/>
                    <a:pt x="294" y="183"/>
                    <a:pt x="294" y="178"/>
                  </a:cubicBezTo>
                  <a:cubicBezTo>
                    <a:pt x="294" y="176"/>
                    <a:pt x="290" y="175"/>
                    <a:pt x="286" y="175"/>
                  </a:cubicBezTo>
                  <a:cubicBezTo>
                    <a:pt x="265" y="175"/>
                    <a:pt x="215" y="205"/>
                    <a:pt x="157" y="263"/>
                  </a:cubicBezTo>
                  <a:cubicBezTo>
                    <a:pt x="152" y="217"/>
                    <a:pt x="146" y="171"/>
                    <a:pt x="146" y="127"/>
                  </a:cubicBezTo>
                  <a:cubicBezTo>
                    <a:pt x="146" y="77"/>
                    <a:pt x="156" y="35"/>
                    <a:pt x="158" y="23"/>
                  </a:cubicBezTo>
                  <a:cubicBezTo>
                    <a:pt x="159" y="16"/>
                    <a:pt x="160" y="11"/>
                    <a:pt x="160" y="7"/>
                  </a:cubicBezTo>
                  <a:cubicBezTo>
                    <a:pt x="160" y="3"/>
                    <a:pt x="158" y="0"/>
                    <a:pt x="151" y="0"/>
                  </a:cubicBezTo>
                  <a:cubicBezTo>
                    <a:pt x="104" y="0"/>
                    <a:pt x="0" y="75"/>
                    <a:pt x="0" y="188"/>
                  </a:cubicBezTo>
                  <a:cubicBezTo>
                    <a:pt x="0" y="268"/>
                    <a:pt x="29" y="306"/>
                    <a:pt x="80" y="356"/>
                  </a:cubicBezTo>
                  <a:cubicBezTo>
                    <a:pt x="49" y="406"/>
                    <a:pt x="25" y="465"/>
                    <a:pt x="25" y="517"/>
                  </a:cubicBezTo>
                  <a:cubicBezTo>
                    <a:pt x="25" y="555"/>
                    <a:pt x="34" y="584"/>
                    <a:pt x="61" y="584"/>
                  </a:cubicBezTo>
                  <a:cubicBezTo>
                    <a:pt x="120" y="584"/>
                    <a:pt x="163" y="462"/>
                    <a:pt x="163" y="372"/>
                  </a:cubicBezTo>
                  <a:cubicBezTo>
                    <a:pt x="163" y="346"/>
                    <a:pt x="162" y="319"/>
                    <a:pt x="160" y="292"/>
                  </a:cubicBezTo>
                  <a:cubicBezTo>
                    <a:pt x="182" y="269"/>
                    <a:pt x="215" y="238"/>
                    <a:pt x="223" y="235"/>
                  </a:cubicBezTo>
                  <a:cubicBezTo>
                    <a:pt x="220" y="248"/>
                    <a:pt x="217" y="261"/>
                    <a:pt x="217" y="273"/>
                  </a:cubicBezTo>
                  <a:cubicBezTo>
                    <a:pt x="217" y="322"/>
                    <a:pt x="245" y="368"/>
                    <a:pt x="299" y="368"/>
                  </a:cubicBezTo>
                  <a:cubicBezTo>
                    <a:pt x="350" y="368"/>
                    <a:pt x="389" y="327"/>
                    <a:pt x="389" y="269"/>
                  </a:cubicBezTo>
                  <a:cubicBezTo>
                    <a:pt x="389" y="262"/>
                    <a:pt x="388" y="255"/>
                    <a:pt x="388" y="248"/>
                  </a:cubicBezTo>
                  <a:cubicBezTo>
                    <a:pt x="406" y="245"/>
                    <a:pt x="423" y="240"/>
                    <a:pt x="440" y="230"/>
                  </a:cubicBezTo>
                  <a:lnTo>
                    <a:pt x="440" y="347"/>
                  </a:lnTo>
                  <a:cubicBezTo>
                    <a:pt x="440" y="363"/>
                    <a:pt x="450" y="368"/>
                    <a:pt x="460" y="368"/>
                  </a:cubicBezTo>
                  <a:cubicBezTo>
                    <a:pt x="473" y="368"/>
                    <a:pt x="480" y="359"/>
                    <a:pt x="490" y="338"/>
                  </a:cubicBezTo>
                  <a:cubicBezTo>
                    <a:pt x="499" y="320"/>
                    <a:pt x="521" y="280"/>
                    <a:pt x="534" y="256"/>
                  </a:cubicBezTo>
                  <a:cubicBezTo>
                    <a:pt x="544" y="237"/>
                    <a:pt x="550" y="225"/>
                    <a:pt x="555" y="225"/>
                  </a:cubicBezTo>
                  <a:cubicBezTo>
                    <a:pt x="556" y="225"/>
                    <a:pt x="558" y="228"/>
                    <a:pt x="558" y="235"/>
                  </a:cubicBezTo>
                  <a:lnTo>
                    <a:pt x="558" y="335"/>
                  </a:lnTo>
                  <a:cubicBezTo>
                    <a:pt x="558" y="362"/>
                    <a:pt x="571" y="368"/>
                    <a:pt x="584" y="368"/>
                  </a:cubicBezTo>
                  <a:cubicBezTo>
                    <a:pt x="595" y="368"/>
                    <a:pt x="603" y="362"/>
                    <a:pt x="610" y="352"/>
                  </a:cubicBezTo>
                  <a:cubicBezTo>
                    <a:pt x="641" y="308"/>
                    <a:pt x="673" y="257"/>
                    <a:pt x="686" y="235"/>
                  </a:cubicBezTo>
                  <a:cubicBezTo>
                    <a:pt x="688" y="231"/>
                    <a:pt x="691" y="228"/>
                    <a:pt x="693" y="228"/>
                  </a:cubicBezTo>
                  <a:cubicBezTo>
                    <a:pt x="696" y="228"/>
                    <a:pt x="697" y="229"/>
                    <a:pt x="697" y="236"/>
                  </a:cubicBezTo>
                  <a:lnTo>
                    <a:pt x="697" y="341"/>
                  </a:lnTo>
                  <a:cubicBezTo>
                    <a:pt x="697" y="360"/>
                    <a:pt x="703" y="368"/>
                    <a:pt x="717" y="368"/>
                  </a:cubicBezTo>
                  <a:cubicBezTo>
                    <a:pt x="731" y="368"/>
                    <a:pt x="739" y="359"/>
                    <a:pt x="745" y="348"/>
                  </a:cubicBezTo>
                  <a:cubicBezTo>
                    <a:pt x="764" y="308"/>
                    <a:pt x="793" y="255"/>
                    <a:pt x="805" y="234"/>
                  </a:cubicBezTo>
                  <a:cubicBezTo>
                    <a:pt x="807" y="229"/>
                    <a:pt x="811" y="225"/>
                    <a:pt x="812" y="225"/>
                  </a:cubicBezTo>
                  <a:cubicBezTo>
                    <a:pt x="815" y="225"/>
                    <a:pt x="815" y="228"/>
                    <a:pt x="815" y="235"/>
                  </a:cubicBezTo>
                  <a:lnTo>
                    <a:pt x="815" y="335"/>
                  </a:lnTo>
                  <a:cubicBezTo>
                    <a:pt x="815" y="362"/>
                    <a:pt x="829" y="368"/>
                    <a:pt x="842" y="368"/>
                  </a:cubicBezTo>
                  <a:cubicBezTo>
                    <a:pt x="858" y="368"/>
                    <a:pt x="868" y="357"/>
                    <a:pt x="879" y="344"/>
                  </a:cubicBezTo>
                  <a:cubicBezTo>
                    <a:pt x="898" y="318"/>
                    <a:pt x="926" y="273"/>
                    <a:pt x="943" y="245"/>
                  </a:cubicBezTo>
                  <a:cubicBezTo>
                    <a:pt x="949" y="254"/>
                    <a:pt x="955" y="265"/>
                    <a:pt x="961" y="277"/>
                  </a:cubicBezTo>
                  <a:cubicBezTo>
                    <a:pt x="947" y="294"/>
                    <a:pt x="933" y="314"/>
                    <a:pt x="933" y="334"/>
                  </a:cubicBezTo>
                  <a:cubicBezTo>
                    <a:pt x="933" y="355"/>
                    <a:pt x="948" y="368"/>
                    <a:pt x="963" y="368"/>
                  </a:cubicBezTo>
                  <a:cubicBezTo>
                    <a:pt x="990" y="368"/>
                    <a:pt x="1015" y="343"/>
                    <a:pt x="1015" y="307"/>
                  </a:cubicBezTo>
                  <a:cubicBezTo>
                    <a:pt x="1015" y="293"/>
                    <a:pt x="1011" y="279"/>
                    <a:pt x="1005" y="265"/>
                  </a:cubicBezTo>
                  <a:cubicBezTo>
                    <a:pt x="1029" y="241"/>
                    <a:pt x="1058" y="219"/>
                    <a:pt x="1079" y="213"/>
                  </a:cubicBezTo>
                  <a:lnTo>
                    <a:pt x="1079" y="213"/>
                  </a:lnTo>
                  <a:close/>
                  <a:moveTo>
                    <a:pt x="118" y="341"/>
                  </a:moveTo>
                  <a:lnTo>
                    <a:pt x="118" y="341"/>
                  </a:lnTo>
                  <a:cubicBezTo>
                    <a:pt x="123" y="371"/>
                    <a:pt x="127" y="402"/>
                    <a:pt x="127" y="426"/>
                  </a:cubicBezTo>
                  <a:cubicBezTo>
                    <a:pt x="127" y="482"/>
                    <a:pt x="108" y="547"/>
                    <a:pt x="76" y="546"/>
                  </a:cubicBezTo>
                  <a:cubicBezTo>
                    <a:pt x="64" y="546"/>
                    <a:pt x="53" y="534"/>
                    <a:pt x="53" y="513"/>
                  </a:cubicBezTo>
                  <a:cubicBezTo>
                    <a:pt x="52" y="443"/>
                    <a:pt x="85" y="383"/>
                    <a:pt x="118" y="341"/>
                  </a:cubicBezTo>
                  <a:lnTo>
                    <a:pt x="118" y="341"/>
                  </a:lnTo>
                  <a:close/>
                  <a:moveTo>
                    <a:pt x="970" y="301"/>
                  </a:moveTo>
                  <a:lnTo>
                    <a:pt x="970" y="301"/>
                  </a:lnTo>
                  <a:cubicBezTo>
                    <a:pt x="973" y="311"/>
                    <a:pt x="975" y="319"/>
                    <a:pt x="975" y="327"/>
                  </a:cubicBezTo>
                  <a:cubicBezTo>
                    <a:pt x="975" y="336"/>
                    <a:pt x="972" y="346"/>
                    <a:pt x="965" y="346"/>
                  </a:cubicBezTo>
                  <a:cubicBezTo>
                    <a:pt x="961" y="346"/>
                    <a:pt x="956" y="341"/>
                    <a:pt x="956" y="332"/>
                  </a:cubicBezTo>
                  <a:cubicBezTo>
                    <a:pt x="956" y="324"/>
                    <a:pt x="963" y="310"/>
                    <a:pt x="970" y="301"/>
                  </a:cubicBezTo>
                  <a:lnTo>
                    <a:pt x="970" y="301"/>
                  </a:lnTo>
                  <a:close/>
                  <a:moveTo>
                    <a:pt x="139" y="22"/>
                  </a:moveTo>
                  <a:lnTo>
                    <a:pt x="139" y="22"/>
                  </a:lnTo>
                  <a:cubicBezTo>
                    <a:pt x="139" y="26"/>
                    <a:pt x="131" y="42"/>
                    <a:pt x="120" y="71"/>
                  </a:cubicBezTo>
                  <a:cubicBezTo>
                    <a:pt x="109" y="102"/>
                    <a:pt x="99" y="145"/>
                    <a:pt x="99" y="197"/>
                  </a:cubicBezTo>
                  <a:cubicBezTo>
                    <a:pt x="99" y="228"/>
                    <a:pt x="106" y="269"/>
                    <a:pt x="113" y="310"/>
                  </a:cubicBezTo>
                  <a:lnTo>
                    <a:pt x="94" y="335"/>
                  </a:lnTo>
                  <a:cubicBezTo>
                    <a:pt x="64" y="299"/>
                    <a:pt x="46" y="258"/>
                    <a:pt x="46" y="188"/>
                  </a:cubicBezTo>
                  <a:cubicBezTo>
                    <a:pt x="46" y="89"/>
                    <a:pt x="106" y="20"/>
                    <a:pt x="137" y="20"/>
                  </a:cubicBezTo>
                  <a:cubicBezTo>
                    <a:pt x="139" y="20"/>
                    <a:pt x="139" y="21"/>
                    <a:pt x="139" y="22"/>
                  </a:cubicBezTo>
                  <a:close/>
                </a:path>
              </a:pathLst>
            </a:custGeom>
            <a:solidFill>
              <a:srgbClr val="EC1C2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sp>
        <p:nvSpPr>
          <p:cNvPr id="23" name="Freeform 22"/>
          <p:cNvSpPr>
            <a:spLocks/>
          </p:cNvSpPr>
          <p:nvPr userDrawn="1"/>
        </p:nvSpPr>
        <p:spPr bwMode="auto">
          <a:xfrm>
            <a:off x="4876802" y="5836245"/>
            <a:ext cx="5447271" cy="1045633"/>
          </a:xfrm>
          <a:custGeom>
            <a:avLst/>
            <a:gdLst>
              <a:gd name="connsiteX0" fmla="*/ 1543994 w 4085453"/>
              <a:gd name="connsiteY0" fmla="*/ 0 h 784225"/>
              <a:gd name="connsiteX1" fmla="*/ 4083688 w 4085453"/>
              <a:gd name="connsiteY1" fmla="*/ 783468 h 784225"/>
              <a:gd name="connsiteX2" fmla="*/ 4085453 w 4085453"/>
              <a:gd name="connsiteY2" fmla="*/ 784225 h 784225"/>
              <a:gd name="connsiteX3" fmla="*/ 2975528 w 4085453"/>
              <a:gd name="connsiteY3" fmla="*/ 784225 h 784225"/>
              <a:gd name="connsiteX4" fmla="*/ 2752683 w 4085453"/>
              <a:gd name="connsiteY4" fmla="*/ 732482 h 784225"/>
              <a:gd name="connsiteX5" fmla="*/ 0 w 4085453"/>
              <a:gd name="connsiteY5" fmla="*/ 579981 h 784225"/>
              <a:gd name="connsiteX6" fmla="*/ 1543994 w 4085453"/>
              <a:gd name="connsiteY6" fmla="*/ 0 h 784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85453" h="784225">
                <a:moveTo>
                  <a:pt x="1543994" y="0"/>
                </a:moveTo>
                <a:cubicBezTo>
                  <a:pt x="2377399" y="92270"/>
                  <a:pt x="3549650" y="556913"/>
                  <a:pt x="4083688" y="783468"/>
                </a:cubicBezTo>
                <a:lnTo>
                  <a:pt x="4085453" y="784225"/>
                </a:lnTo>
                <a:lnTo>
                  <a:pt x="2975528" y="784225"/>
                </a:lnTo>
                <a:lnTo>
                  <a:pt x="2752683" y="732482"/>
                </a:lnTo>
                <a:cubicBezTo>
                  <a:pt x="1186598" y="400568"/>
                  <a:pt x="0" y="579981"/>
                  <a:pt x="0" y="579981"/>
                </a:cubicBezTo>
                <a:cubicBezTo>
                  <a:pt x="614089" y="322212"/>
                  <a:pt x="1543994" y="0"/>
                  <a:pt x="1543994" y="0"/>
                </a:cubicBezTo>
                <a:close/>
              </a:path>
            </a:pathLst>
          </a:custGeom>
          <a:solidFill>
            <a:srgbClr val="5261AC">
              <a:alpha val="4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21442830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9173738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112FB6-CC62-4EF4-91D0-558E53DD2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890467-0235-4D1D-85D0-E73B893CC3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66BDEF-92A8-4B4E-8059-16D66BF10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F4E69A-BB2F-466C-88DD-1FA19F2F8991}" type="datetimeFigureOut">
              <a:rPr lang="ru-RU" smtClean="0"/>
              <a:pPr/>
              <a:t>12.08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12435C-6ADF-4620-9C3D-35B43D689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02BD49-8019-4C4E-8C0A-5BD80F719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129E6-4A33-49BF-A50E-91A2115A92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504416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100" y="5939791"/>
            <a:ext cx="2844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2CE770C9-4A57-4903-9CAF-A03266DAAF4D}" type="datetime1">
              <a:rPr lang="en-US" sz="3200" smtClean="0">
                <a:solidFill>
                  <a:srgbClr val="5F5F5F"/>
                </a:solidFill>
                <a:ea typeface="MS PGothic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8/12/2021</a:t>
            </a:fld>
            <a:endParaRPr lang="en-GB" sz="3200">
              <a:solidFill>
                <a:srgbClr val="5F5F5F"/>
              </a:solidFill>
              <a:ea typeface="MS PGothi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9100" y="6519546"/>
            <a:ext cx="3860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200">
              <a:solidFill>
                <a:srgbClr val="5F5F5F"/>
              </a:solidFill>
              <a:ea typeface="MS PGothic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915400" y="6519546"/>
            <a:ext cx="28448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141945D8-3F61-4F85-8283-2597F7F35B98}" type="slidenum">
              <a:rPr lang="en-GB" sz="3200" smtClean="0">
                <a:solidFill>
                  <a:srgbClr val="5F5F5F"/>
                </a:solidFill>
                <a:ea typeface="MS PGothic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3200">
              <a:solidFill>
                <a:srgbClr val="5F5F5F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4597296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12192000" cy="417195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4168775"/>
            <a:ext cx="12192000" cy="2552700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auto">
          <a:xfrm>
            <a:off x="0" y="6505576"/>
            <a:ext cx="12192000" cy="36512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350965"/>
            <a:ext cx="10363200" cy="147002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424680"/>
            <a:ext cx="10451253" cy="12141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rgbClr val="000000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018720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C6369-4E08-429E-BE73-DB3F36540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560C45-2D84-4A16-864C-E0B4912DE4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F183CD-4879-4F38-880A-38C6EA5624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136FFC-0FB5-4DD7-80A6-0AAB726DC6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C07FA9-3898-466A-8E9C-7EF47BD238A7}" type="datetimeFigureOut">
              <a:rPr lang="ru-RU" smtClean="0"/>
              <a:pPr/>
              <a:t>12.08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087B94-954B-4BEB-9287-CD03462E96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84EEE7-B4EF-41F7-BFB3-E53338CFE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764D1-9A3F-4A84-A628-D9AB7118B1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193989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2CDC22D-28D2-4B9C-90CE-61738ED8A5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3828" y="0"/>
            <a:ext cx="12195828" cy="685584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C54544-7D33-4965-83EA-228C6B66154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161335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95613-8608-4CBA-B29A-020C4B49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8F093B-0340-4B59-BFAD-76217FA4E6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63"/>
          <a:stretch/>
        </p:blipFill>
        <p:spPr>
          <a:xfrm>
            <a:off x="0" y="0"/>
            <a:ext cx="116602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1657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9888595"/>
      </p:ext>
    </p:extLst>
  </p:cSld>
  <p:clrMapOvr>
    <a:masterClrMapping/>
  </p:clrMapOvr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3728440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>
  <p:cSld name="Title Slide">
    <p:bg>
      <p:bgPr>
        <a:gradFill>
          <a:gsLst>
            <a:gs pos="0">
              <a:schemeClr val="bg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64794" y="1044411"/>
            <a:ext cx="8049953" cy="5247871"/>
          </a:xfrm>
          <a:custGeom>
            <a:avLst/>
            <a:gdLst>
              <a:gd name="connsiteX0" fmla="*/ 0 w 5976664"/>
              <a:gd name="connsiteY0" fmla="*/ 0 h 3888431"/>
              <a:gd name="connsiteX1" fmla="*/ 5976664 w 5976664"/>
              <a:gd name="connsiteY1" fmla="*/ 0 h 3888431"/>
              <a:gd name="connsiteX2" fmla="*/ 5976664 w 5976664"/>
              <a:gd name="connsiteY2" fmla="*/ 3888431 h 3888431"/>
              <a:gd name="connsiteX3" fmla="*/ 0 w 5976664"/>
              <a:gd name="connsiteY3" fmla="*/ 3888431 h 3888431"/>
              <a:gd name="connsiteX4" fmla="*/ 0 w 5976664"/>
              <a:gd name="connsiteY4" fmla="*/ 0 h 3888431"/>
              <a:gd name="connsiteX0" fmla="*/ 13447 w 5990111"/>
              <a:gd name="connsiteY0" fmla="*/ 0 h 3888431"/>
              <a:gd name="connsiteX1" fmla="*/ 5990111 w 5990111"/>
              <a:gd name="connsiteY1" fmla="*/ 0 h 3888431"/>
              <a:gd name="connsiteX2" fmla="*/ 5990111 w 5990111"/>
              <a:gd name="connsiteY2" fmla="*/ 3888431 h 3888431"/>
              <a:gd name="connsiteX3" fmla="*/ 0 w 5990111"/>
              <a:gd name="connsiteY3" fmla="*/ 2933690 h 3888431"/>
              <a:gd name="connsiteX4" fmla="*/ 13447 w 5990111"/>
              <a:gd name="connsiteY4" fmla="*/ 0 h 3888431"/>
              <a:gd name="connsiteX0" fmla="*/ 228600 w 5990111"/>
              <a:gd name="connsiteY0" fmla="*/ 336177 h 3888431"/>
              <a:gd name="connsiteX1" fmla="*/ 5990111 w 5990111"/>
              <a:gd name="connsiteY1" fmla="*/ 0 h 3888431"/>
              <a:gd name="connsiteX2" fmla="*/ 5990111 w 5990111"/>
              <a:gd name="connsiteY2" fmla="*/ 3888431 h 3888431"/>
              <a:gd name="connsiteX3" fmla="*/ 0 w 5990111"/>
              <a:gd name="connsiteY3" fmla="*/ 2933690 h 3888431"/>
              <a:gd name="connsiteX4" fmla="*/ 228600 w 5990111"/>
              <a:gd name="connsiteY4" fmla="*/ 336177 h 3888431"/>
              <a:gd name="connsiteX0" fmla="*/ 228600 w 5990111"/>
              <a:gd name="connsiteY0" fmla="*/ 282389 h 3834643"/>
              <a:gd name="connsiteX1" fmla="*/ 5048817 w 5990111"/>
              <a:gd name="connsiteY1" fmla="*/ 0 h 3834643"/>
              <a:gd name="connsiteX2" fmla="*/ 5990111 w 5990111"/>
              <a:gd name="connsiteY2" fmla="*/ 3834643 h 3834643"/>
              <a:gd name="connsiteX3" fmla="*/ 0 w 5990111"/>
              <a:gd name="connsiteY3" fmla="*/ 2879902 h 3834643"/>
              <a:gd name="connsiteX4" fmla="*/ 228600 w 5990111"/>
              <a:gd name="connsiteY4" fmla="*/ 282389 h 3834643"/>
              <a:gd name="connsiteX0" fmla="*/ 228600 w 6138029"/>
              <a:gd name="connsiteY0" fmla="*/ 282389 h 2879902"/>
              <a:gd name="connsiteX1" fmla="*/ 5048817 w 6138029"/>
              <a:gd name="connsiteY1" fmla="*/ 0 h 2879902"/>
              <a:gd name="connsiteX2" fmla="*/ 6138029 w 6138029"/>
              <a:gd name="connsiteY2" fmla="*/ 1575537 h 2879902"/>
              <a:gd name="connsiteX3" fmla="*/ 0 w 6138029"/>
              <a:gd name="connsiteY3" fmla="*/ 2879902 h 2879902"/>
              <a:gd name="connsiteX4" fmla="*/ 228600 w 6138029"/>
              <a:gd name="connsiteY4" fmla="*/ 282389 h 2879902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138029"/>
              <a:gd name="connsiteY0" fmla="*/ 282389 h 3857600"/>
              <a:gd name="connsiteX1" fmla="*/ 5048817 w 6138029"/>
              <a:gd name="connsiteY1" fmla="*/ 0 h 3857600"/>
              <a:gd name="connsiteX2" fmla="*/ 6138029 w 6138029"/>
              <a:gd name="connsiteY2" fmla="*/ 1575537 h 3857600"/>
              <a:gd name="connsiteX3" fmla="*/ 3601689 w 6138029"/>
              <a:gd name="connsiteY3" fmla="*/ 3857600 h 3857600"/>
              <a:gd name="connsiteX4" fmla="*/ 0 w 6138029"/>
              <a:gd name="connsiteY4" fmla="*/ 2879902 h 3857600"/>
              <a:gd name="connsiteX5" fmla="*/ 228600 w 6138029"/>
              <a:gd name="connsiteY5" fmla="*/ 282389 h 3857600"/>
              <a:gd name="connsiteX0" fmla="*/ 228600 w 6017006"/>
              <a:gd name="connsiteY0" fmla="*/ 282389 h 3857600"/>
              <a:gd name="connsiteX1" fmla="*/ 5048817 w 6017006"/>
              <a:gd name="connsiteY1" fmla="*/ 0 h 3857600"/>
              <a:gd name="connsiteX2" fmla="*/ 6017006 w 6017006"/>
              <a:gd name="connsiteY2" fmla="*/ 1521749 h 3857600"/>
              <a:gd name="connsiteX3" fmla="*/ 3601689 w 6017006"/>
              <a:gd name="connsiteY3" fmla="*/ 3857600 h 3857600"/>
              <a:gd name="connsiteX4" fmla="*/ 0 w 6017006"/>
              <a:gd name="connsiteY4" fmla="*/ 2879902 h 3857600"/>
              <a:gd name="connsiteX5" fmla="*/ 228600 w 6017006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28600 w 6070794"/>
              <a:gd name="connsiteY0" fmla="*/ 282389 h 3857600"/>
              <a:gd name="connsiteX1" fmla="*/ 5048817 w 6070794"/>
              <a:gd name="connsiteY1" fmla="*/ 0 h 3857600"/>
              <a:gd name="connsiteX2" fmla="*/ 6070794 w 6070794"/>
              <a:gd name="connsiteY2" fmla="*/ 1441067 h 3857600"/>
              <a:gd name="connsiteX3" fmla="*/ 3601689 w 6070794"/>
              <a:gd name="connsiteY3" fmla="*/ 3857600 h 3857600"/>
              <a:gd name="connsiteX4" fmla="*/ 0 w 6070794"/>
              <a:gd name="connsiteY4" fmla="*/ 2879902 h 3857600"/>
              <a:gd name="connsiteX5" fmla="*/ 228600 w 6070794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215153 w 6057347"/>
              <a:gd name="connsiteY0" fmla="*/ 282389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15153 w 6057347"/>
              <a:gd name="connsiteY5" fmla="*/ 282389 h 3857600"/>
              <a:gd name="connsiteX0" fmla="*/ 389965 w 6057347"/>
              <a:gd name="connsiteY0" fmla="*/ 497542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389965 w 6057347"/>
              <a:gd name="connsiteY5" fmla="*/ 497542 h 3857600"/>
              <a:gd name="connsiteX0" fmla="*/ 255494 w 6057347"/>
              <a:gd name="connsiteY0" fmla="*/ 295836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5494 w 6057347"/>
              <a:gd name="connsiteY5" fmla="*/ 295836 h 3857600"/>
              <a:gd name="connsiteX0" fmla="*/ 255494 w 6057347"/>
              <a:gd name="connsiteY0" fmla="*/ 295836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5494 w 6057347"/>
              <a:gd name="connsiteY5" fmla="*/ 295836 h 3857600"/>
              <a:gd name="connsiteX0" fmla="*/ 252169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2169 w 6057347"/>
              <a:gd name="connsiteY5" fmla="*/ 335737 h 3857600"/>
              <a:gd name="connsiteX0" fmla="*/ 252169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52169 w 6057347"/>
              <a:gd name="connsiteY5" fmla="*/ 335737 h 3857600"/>
              <a:gd name="connsiteX0" fmla="*/ 235544 w 6057347"/>
              <a:gd name="connsiteY0" fmla="*/ 335737 h 3857600"/>
              <a:gd name="connsiteX1" fmla="*/ 5035370 w 6057347"/>
              <a:gd name="connsiteY1" fmla="*/ 0 h 3857600"/>
              <a:gd name="connsiteX2" fmla="*/ 6057347 w 6057347"/>
              <a:gd name="connsiteY2" fmla="*/ 1441067 h 3857600"/>
              <a:gd name="connsiteX3" fmla="*/ 3588242 w 6057347"/>
              <a:gd name="connsiteY3" fmla="*/ 3857600 h 3857600"/>
              <a:gd name="connsiteX4" fmla="*/ 0 w 6057347"/>
              <a:gd name="connsiteY4" fmla="*/ 2853008 h 3857600"/>
              <a:gd name="connsiteX5" fmla="*/ 235544 w 6057347"/>
              <a:gd name="connsiteY5" fmla="*/ 335737 h 3857600"/>
              <a:gd name="connsiteX0" fmla="*/ 235544 w 6057347"/>
              <a:gd name="connsiteY0" fmla="*/ 335737 h 3877551"/>
              <a:gd name="connsiteX1" fmla="*/ 5035370 w 6057347"/>
              <a:gd name="connsiteY1" fmla="*/ 0 h 3877551"/>
              <a:gd name="connsiteX2" fmla="*/ 6057347 w 6057347"/>
              <a:gd name="connsiteY2" fmla="*/ 1441067 h 3877551"/>
              <a:gd name="connsiteX3" fmla="*/ 3621492 w 6057347"/>
              <a:gd name="connsiteY3" fmla="*/ 3877551 h 3877551"/>
              <a:gd name="connsiteX4" fmla="*/ 0 w 6057347"/>
              <a:gd name="connsiteY4" fmla="*/ 2853008 h 3877551"/>
              <a:gd name="connsiteX5" fmla="*/ 235544 w 6057347"/>
              <a:gd name="connsiteY5" fmla="*/ 335737 h 3877551"/>
              <a:gd name="connsiteX0" fmla="*/ 235544 w 6047372"/>
              <a:gd name="connsiteY0" fmla="*/ 335737 h 3877551"/>
              <a:gd name="connsiteX1" fmla="*/ 5035370 w 6047372"/>
              <a:gd name="connsiteY1" fmla="*/ 0 h 3877551"/>
              <a:gd name="connsiteX2" fmla="*/ 6047372 w 6047372"/>
              <a:gd name="connsiteY2" fmla="*/ 1431092 h 3877551"/>
              <a:gd name="connsiteX3" fmla="*/ 3621492 w 6047372"/>
              <a:gd name="connsiteY3" fmla="*/ 3877551 h 3877551"/>
              <a:gd name="connsiteX4" fmla="*/ 0 w 6047372"/>
              <a:gd name="connsiteY4" fmla="*/ 2853008 h 3877551"/>
              <a:gd name="connsiteX5" fmla="*/ 235544 w 6047372"/>
              <a:gd name="connsiteY5" fmla="*/ 335737 h 3877551"/>
              <a:gd name="connsiteX0" fmla="*/ 235544 w 6047372"/>
              <a:gd name="connsiteY0" fmla="*/ 335737 h 3877551"/>
              <a:gd name="connsiteX1" fmla="*/ 5035370 w 6047372"/>
              <a:gd name="connsiteY1" fmla="*/ 0 h 3877551"/>
              <a:gd name="connsiteX2" fmla="*/ 6047372 w 6047372"/>
              <a:gd name="connsiteY2" fmla="*/ 1434417 h 3877551"/>
              <a:gd name="connsiteX3" fmla="*/ 3621492 w 6047372"/>
              <a:gd name="connsiteY3" fmla="*/ 3877551 h 3877551"/>
              <a:gd name="connsiteX4" fmla="*/ 0 w 6047372"/>
              <a:gd name="connsiteY4" fmla="*/ 2853008 h 3877551"/>
              <a:gd name="connsiteX5" fmla="*/ 235544 w 6047372"/>
              <a:gd name="connsiteY5" fmla="*/ 335737 h 3877551"/>
              <a:gd name="connsiteX0" fmla="*/ 235544 w 6047372"/>
              <a:gd name="connsiteY0" fmla="*/ 335737 h 3867576"/>
              <a:gd name="connsiteX1" fmla="*/ 5035370 w 6047372"/>
              <a:gd name="connsiteY1" fmla="*/ 0 h 3867576"/>
              <a:gd name="connsiteX2" fmla="*/ 6047372 w 6047372"/>
              <a:gd name="connsiteY2" fmla="*/ 1434417 h 3867576"/>
              <a:gd name="connsiteX3" fmla="*/ 3608192 w 6047372"/>
              <a:gd name="connsiteY3" fmla="*/ 3867576 h 3867576"/>
              <a:gd name="connsiteX4" fmla="*/ 0 w 6047372"/>
              <a:gd name="connsiteY4" fmla="*/ 2853008 h 3867576"/>
              <a:gd name="connsiteX5" fmla="*/ 235544 w 6047372"/>
              <a:gd name="connsiteY5" fmla="*/ 335737 h 3867576"/>
              <a:gd name="connsiteX0" fmla="*/ 235544 w 6047372"/>
              <a:gd name="connsiteY0" fmla="*/ 335737 h 3870901"/>
              <a:gd name="connsiteX1" fmla="*/ 5035370 w 6047372"/>
              <a:gd name="connsiteY1" fmla="*/ 0 h 3870901"/>
              <a:gd name="connsiteX2" fmla="*/ 6047372 w 6047372"/>
              <a:gd name="connsiteY2" fmla="*/ 1434417 h 3870901"/>
              <a:gd name="connsiteX3" fmla="*/ 3614842 w 6047372"/>
              <a:gd name="connsiteY3" fmla="*/ 3870901 h 3870901"/>
              <a:gd name="connsiteX4" fmla="*/ 0 w 6047372"/>
              <a:gd name="connsiteY4" fmla="*/ 2853008 h 3870901"/>
              <a:gd name="connsiteX5" fmla="*/ 235544 w 6047372"/>
              <a:gd name="connsiteY5" fmla="*/ 335737 h 3870901"/>
              <a:gd name="connsiteX0" fmla="*/ 235544 w 6047372"/>
              <a:gd name="connsiteY0" fmla="*/ 359013 h 3894177"/>
              <a:gd name="connsiteX1" fmla="*/ 5065296 w 6047372"/>
              <a:gd name="connsiteY1" fmla="*/ 0 h 3894177"/>
              <a:gd name="connsiteX2" fmla="*/ 6047372 w 6047372"/>
              <a:gd name="connsiteY2" fmla="*/ 1457693 h 3894177"/>
              <a:gd name="connsiteX3" fmla="*/ 3614842 w 6047372"/>
              <a:gd name="connsiteY3" fmla="*/ 3894177 h 3894177"/>
              <a:gd name="connsiteX4" fmla="*/ 0 w 6047372"/>
              <a:gd name="connsiteY4" fmla="*/ 2876284 h 3894177"/>
              <a:gd name="connsiteX5" fmla="*/ 235544 w 6047372"/>
              <a:gd name="connsiteY5" fmla="*/ 359013 h 3894177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036756 h 4054649"/>
              <a:gd name="connsiteX5" fmla="*/ 251446 w 6047372"/>
              <a:gd name="connsiteY5" fmla="*/ 0 h 4054649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450224 h 4054649"/>
              <a:gd name="connsiteX5" fmla="*/ 251446 w 6047372"/>
              <a:gd name="connsiteY5" fmla="*/ 0 h 4054649"/>
              <a:gd name="connsiteX0" fmla="*/ 251446 w 6047372"/>
              <a:gd name="connsiteY0" fmla="*/ 0 h 4054649"/>
              <a:gd name="connsiteX1" fmla="*/ 5065296 w 6047372"/>
              <a:gd name="connsiteY1" fmla="*/ 160472 h 4054649"/>
              <a:gd name="connsiteX2" fmla="*/ 6047372 w 6047372"/>
              <a:gd name="connsiteY2" fmla="*/ 1618165 h 4054649"/>
              <a:gd name="connsiteX3" fmla="*/ 3614842 w 6047372"/>
              <a:gd name="connsiteY3" fmla="*/ 4054649 h 4054649"/>
              <a:gd name="connsiteX4" fmla="*/ 0 w 6047372"/>
              <a:gd name="connsiteY4" fmla="*/ 3450224 h 4054649"/>
              <a:gd name="connsiteX5" fmla="*/ 251446 w 6047372"/>
              <a:gd name="connsiteY5" fmla="*/ 0 h 4054649"/>
              <a:gd name="connsiteX0" fmla="*/ 251446 w 6047372"/>
              <a:gd name="connsiteY0" fmla="*/ 0 h 4722558"/>
              <a:gd name="connsiteX1" fmla="*/ 5065296 w 6047372"/>
              <a:gd name="connsiteY1" fmla="*/ 160472 h 4722558"/>
              <a:gd name="connsiteX2" fmla="*/ 6047372 w 6047372"/>
              <a:gd name="connsiteY2" fmla="*/ 1618165 h 4722558"/>
              <a:gd name="connsiteX3" fmla="*/ 3614842 w 6047372"/>
              <a:gd name="connsiteY3" fmla="*/ 4722558 h 4722558"/>
              <a:gd name="connsiteX4" fmla="*/ 0 w 6047372"/>
              <a:gd name="connsiteY4" fmla="*/ 3450224 h 4722558"/>
              <a:gd name="connsiteX5" fmla="*/ 251446 w 6047372"/>
              <a:gd name="connsiteY5" fmla="*/ 0 h 4722558"/>
              <a:gd name="connsiteX0" fmla="*/ 251446 w 6063275"/>
              <a:gd name="connsiteY0" fmla="*/ 0 h 4722558"/>
              <a:gd name="connsiteX1" fmla="*/ 5065296 w 6063275"/>
              <a:gd name="connsiteY1" fmla="*/ 160472 h 4722558"/>
              <a:gd name="connsiteX2" fmla="*/ 6063275 w 6063275"/>
              <a:gd name="connsiteY2" fmla="*/ 1501546 h 4722558"/>
              <a:gd name="connsiteX3" fmla="*/ 3614842 w 6063275"/>
              <a:gd name="connsiteY3" fmla="*/ 4722558 h 4722558"/>
              <a:gd name="connsiteX4" fmla="*/ 0 w 6063275"/>
              <a:gd name="connsiteY4" fmla="*/ 3450224 h 4722558"/>
              <a:gd name="connsiteX5" fmla="*/ 251446 w 6063275"/>
              <a:gd name="connsiteY5" fmla="*/ 0 h 4722558"/>
              <a:gd name="connsiteX0" fmla="*/ 251446 w 6063275"/>
              <a:gd name="connsiteY0" fmla="*/ 0 h 4722558"/>
              <a:gd name="connsiteX1" fmla="*/ 5065296 w 6063275"/>
              <a:gd name="connsiteY1" fmla="*/ 160472 h 4722558"/>
              <a:gd name="connsiteX2" fmla="*/ 6063275 w 6063275"/>
              <a:gd name="connsiteY2" fmla="*/ 1501546 h 4722558"/>
              <a:gd name="connsiteX3" fmla="*/ 3614842 w 6063275"/>
              <a:gd name="connsiteY3" fmla="*/ 4722558 h 4722558"/>
              <a:gd name="connsiteX4" fmla="*/ 0 w 6063275"/>
              <a:gd name="connsiteY4" fmla="*/ 3450224 h 4722558"/>
              <a:gd name="connsiteX5" fmla="*/ 251446 w 6063275"/>
              <a:gd name="connsiteY5" fmla="*/ 0 h 4722558"/>
              <a:gd name="connsiteX0" fmla="*/ 251446 w 6031470"/>
              <a:gd name="connsiteY0" fmla="*/ 0 h 4722558"/>
              <a:gd name="connsiteX1" fmla="*/ 5065296 w 6031470"/>
              <a:gd name="connsiteY1" fmla="*/ 160472 h 4722558"/>
              <a:gd name="connsiteX2" fmla="*/ 6031470 w 6031470"/>
              <a:gd name="connsiteY2" fmla="*/ 1459140 h 4722558"/>
              <a:gd name="connsiteX3" fmla="*/ 3614842 w 6031470"/>
              <a:gd name="connsiteY3" fmla="*/ 4722558 h 4722558"/>
              <a:gd name="connsiteX4" fmla="*/ 0 w 6031470"/>
              <a:gd name="connsiteY4" fmla="*/ 3450224 h 4722558"/>
              <a:gd name="connsiteX5" fmla="*/ 251446 w 6031470"/>
              <a:gd name="connsiteY5" fmla="*/ 0 h 4722558"/>
              <a:gd name="connsiteX0" fmla="*/ 251446 w 6031470"/>
              <a:gd name="connsiteY0" fmla="*/ 454429 h 5176987"/>
              <a:gd name="connsiteX1" fmla="*/ 5073247 w 6031470"/>
              <a:gd name="connsiteY1" fmla="*/ 0 h 5176987"/>
              <a:gd name="connsiteX2" fmla="*/ 6031470 w 6031470"/>
              <a:gd name="connsiteY2" fmla="*/ 1913569 h 5176987"/>
              <a:gd name="connsiteX3" fmla="*/ 3614842 w 6031470"/>
              <a:gd name="connsiteY3" fmla="*/ 5176987 h 5176987"/>
              <a:gd name="connsiteX4" fmla="*/ 0 w 6031470"/>
              <a:gd name="connsiteY4" fmla="*/ 3904653 h 5176987"/>
              <a:gd name="connsiteX5" fmla="*/ 251446 w 6031470"/>
              <a:gd name="connsiteY5" fmla="*/ 454429 h 5176987"/>
              <a:gd name="connsiteX0" fmla="*/ 251446 w 6031470"/>
              <a:gd name="connsiteY0" fmla="*/ 454429 h 5176987"/>
              <a:gd name="connsiteX1" fmla="*/ 5073247 w 6031470"/>
              <a:gd name="connsiteY1" fmla="*/ 0 h 5176987"/>
              <a:gd name="connsiteX2" fmla="*/ 6031470 w 6031470"/>
              <a:gd name="connsiteY2" fmla="*/ 1913569 h 5176987"/>
              <a:gd name="connsiteX3" fmla="*/ 3614842 w 6031470"/>
              <a:gd name="connsiteY3" fmla="*/ 5176987 h 5176987"/>
              <a:gd name="connsiteX4" fmla="*/ 0 w 6031470"/>
              <a:gd name="connsiteY4" fmla="*/ 3904653 h 5176987"/>
              <a:gd name="connsiteX5" fmla="*/ 251446 w 6031470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51446 w 6055324"/>
              <a:gd name="connsiteY0" fmla="*/ 454429 h 5176987"/>
              <a:gd name="connsiteX1" fmla="*/ 5073247 w 6055324"/>
              <a:gd name="connsiteY1" fmla="*/ 0 h 5176987"/>
              <a:gd name="connsiteX2" fmla="*/ 6055324 w 6055324"/>
              <a:gd name="connsiteY2" fmla="*/ 1924170 h 5176987"/>
              <a:gd name="connsiteX3" fmla="*/ 3614842 w 6055324"/>
              <a:gd name="connsiteY3" fmla="*/ 5176987 h 5176987"/>
              <a:gd name="connsiteX4" fmla="*/ 0 w 6055324"/>
              <a:gd name="connsiteY4" fmla="*/ 3904653 h 5176987"/>
              <a:gd name="connsiteX5" fmla="*/ 251446 w 6055324"/>
              <a:gd name="connsiteY5" fmla="*/ 454429 h 5176987"/>
              <a:gd name="connsiteX0" fmla="*/ 235544 w 6039422"/>
              <a:gd name="connsiteY0" fmla="*/ 454429 h 5176987"/>
              <a:gd name="connsiteX1" fmla="*/ 5057345 w 6039422"/>
              <a:gd name="connsiteY1" fmla="*/ 0 h 5176987"/>
              <a:gd name="connsiteX2" fmla="*/ 6039422 w 6039422"/>
              <a:gd name="connsiteY2" fmla="*/ 1924170 h 5176987"/>
              <a:gd name="connsiteX3" fmla="*/ 3598940 w 6039422"/>
              <a:gd name="connsiteY3" fmla="*/ 5176987 h 5176987"/>
              <a:gd name="connsiteX4" fmla="*/ 0 w 6039422"/>
              <a:gd name="connsiteY4" fmla="*/ 3862246 h 5176987"/>
              <a:gd name="connsiteX5" fmla="*/ 235544 w 6039422"/>
              <a:gd name="connsiteY5" fmla="*/ 454429 h 5176987"/>
              <a:gd name="connsiteX0" fmla="*/ 235544 w 6015568"/>
              <a:gd name="connsiteY0" fmla="*/ 454429 h 5176987"/>
              <a:gd name="connsiteX1" fmla="*/ 5057345 w 6015568"/>
              <a:gd name="connsiteY1" fmla="*/ 0 h 5176987"/>
              <a:gd name="connsiteX2" fmla="*/ 6015568 w 6015568"/>
              <a:gd name="connsiteY2" fmla="*/ 1934773 h 5176987"/>
              <a:gd name="connsiteX3" fmla="*/ 3598940 w 6015568"/>
              <a:gd name="connsiteY3" fmla="*/ 5176987 h 5176987"/>
              <a:gd name="connsiteX4" fmla="*/ 0 w 6015568"/>
              <a:gd name="connsiteY4" fmla="*/ 3862246 h 5176987"/>
              <a:gd name="connsiteX5" fmla="*/ 235544 w 6015568"/>
              <a:gd name="connsiteY5" fmla="*/ 454429 h 5176987"/>
              <a:gd name="connsiteX0" fmla="*/ 235544 w 6015568"/>
              <a:gd name="connsiteY0" fmla="*/ 454429 h 5176987"/>
              <a:gd name="connsiteX1" fmla="*/ 5057345 w 6015568"/>
              <a:gd name="connsiteY1" fmla="*/ 0 h 5176987"/>
              <a:gd name="connsiteX2" fmla="*/ 6015568 w 6015568"/>
              <a:gd name="connsiteY2" fmla="*/ 1955976 h 5176987"/>
              <a:gd name="connsiteX3" fmla="*/ 3598940 w 6015568"/>
              <a:gd name="connsiteY3" fmla="*/ 5176987 h 5176987"/>
              <a:gd name="connsiteX4" fmla="*/ 0 w 6015568"/>
              <a:gd name="connsiteY4" fmla="*/ 3862246 h 5176987"/>
              <a:gd name="connsiteX5" fmla="*/ 235544 w 6015568"/>
              <a:gd name="connsiteY5" fmla="*/ 454429 h 5176987"/>
              <a:gd name="connsiteX0" fmla="*/ 235544 w 6031471"/>
              <a:gd name="connsiteY0" fmla="*/ 454429 h 5176987"/>
              <a:gd name="connsiteX1" fmla="*/ 5057345 w 6031471"/>
              <a:gd name="connsiteY1" fmla="*/ 0 h 5176987"/>
              <a:gd name="connsiteX2" fmla="*/ 6031471 w 6031471"/>
              <a:gd name="connsiteY2" fmla="*/ 1966577 h 5176987"/>
              <a:gd name="connsiteX3" fmla="*/ 3598940 w 6031471"/>
              <a:gd name="connsiteY3" fmla="*/ 5176987 h 5176987"/>
              <a:gd name="connsiteX4" fmla="*/ 0 w 6031471"/>
              <a:gd name="connsiteY4" fmla="*/ 3862246 h 5176987"/>
              <a:gd name="connsiteX5" fmla="*/ 235544 w 6031471"/>
              <a:gd name="connsiteY5" fmla="*/ 454429 h 5176987"/>
              <a:gd name="connsiteX0" fmla="*/ 235544 w 6031471"/>
              <a:gd name="connsiteY0" fmla="*/ 454429 h 5176987"/>
              <a:gd name="connsiteX1" fmla="*/ 5057345 w 6031471"/>
              <a:gd name="connsiteY1" fmla="*/ 0 h 5176987"/>
              <a:gd name="connsiteX2" fmla="*/ 6031471 w 6031471"/>
              <a:gd name="connsiteY2" fmla="*/ 1966577 h 5176987"/>
              <a:gd name="connsiteX3" fmla="*/ 3598940 w 6031471"/>
              <a:gd name="connsiteY3" fmla="*/ 5176987 h 5176987"/>
              <a:gd name="connsiteX4" fmla="*/ 0 w 6031471"/>
              <a:gd name="connsiteY4" fmla="*/ 3862246 h 5176987"/>
              <a:gd name="connsiteX5" fmla="*/ 235544 w 6031471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252170 w 6048097"/>
              <a:gd name="connsiteY0" fmla="*/ 454429 h 5176987"/>
              <a:gd name="connsiteX1" fmla="*/ 5073971 w 6048097"/>
              <a:gd name="connsiteY1" fmla="*/ 0 h 5176987"/>
              <a:gd name="connsiteX2" fmla="*/ 6048097 w 6048097"/>
              <a:gd name="connsiteY2" fmla="*/ 1966577 h 5176987"/>
              <a:gd name="connsiteX3" fmla="*/ 3615566 w 6048097"/>
              <a:gd name="connsiteY3" fmla="*/ 5176987 h 5176987"/>
              <a:gd name="connsiteX4" fmla="*/ 0 w 6048097"/>
              <a:gd name="connsiteY4" fmla="*/ 3913970 h 5176987"/>
              <a:gd name="connsiteX5" fmla="*/ 252170 w 6048097"/>
              <a:gd name="connsiteY5" fmla="*/ 454429 h 5176987"/>
              <a:gd name="connsiteX0" fmla="*/ 167110 w 5963037"/>
              <a:gd name="connsiteY0" fmla="*/ 454429 h 5176987"/>
              <a:gd name="connsiteX1" fmla="*/ 4988911 w 5963037"/>
              <a:gd name="connsiteY1" fmla="*/ 0 h 5176987"/>
              <a:gd name="connsiteX2" fmla="*/ 5963037 w 5963037"/>
              <a:gd name="connsiteY2" fmla="*/ 1966577 h 5176987"/>
              <a:gd name="connsiteX3" fmla="*/ 3530506 w 5963037"/>
              <a:gd name="connsiteY3" fmla="*/ 5176987 h 5176987"/>
              <a:gd name="connsiteX4" fmla="*/ 0 w 5963037"/>
              <a:gd name="connsiteY4" fmla="*/ 3758026 h 5176987"/>
              <a:gd name="connsiteX5" fmla="*/ 167110 w 5963037"/>
              <a:gd name="connsiteY5" fmla="*/ 454429 h 5176987"/>
              <a:gd name="connsiteX0" fmla="*/ 241538 w 6037465"/>
              <a:gd name="connsiteY0" fmla="*/ 454429 h 5176987"/>
              <a:gd name="connsiteX1" fmla="*/ 5063339 w 6037465"/>
              <a:gd name="connsiteY1" fmla="*/ 0 h 5176987"/>
              <a:gd name="connsiteX2" fmla="*/ 6037465 w 6037465"/>
              <a:gd name="connsiteY2" fmla="*/ 1966577 h 5176987"/>
              <a:gd name="connsiteX3" fmla="*/ 3604934 w 6037465"/>
              <a:gd name="connsiteY3" fmla="*/ 5176987 h 5176987"/>
              <a:gd name="connsiteX4" fmla="*/ 0 w 6037465"/>
              <a:gd name="connsiteY4" fmla="*/ 3885617 h 5176987"/>
              <a:gd name="connsiteX5" fmla="*/ 241538 w 6037465"/>
              <a:gd name="connsiteY5" fmla="*/ 454429 h 5176987"/>
              <a:gd name="connsiteX0" fmla="*/ 241538 w 6037465"/>
              <a:gd name="connsiteY0" fmla="*/ 454429 h 4907628"/>
              <a:gd name="connsiteX1" fmla="*/ 5063339 w 6037465"/>
              <a:gd name="connsiteY1" fmla="*/ 0 h 4907628"/>
              <a:gd name="connsiteX2" fmla="*/ 6037465 w 6037465"/>
              <a:gd name="connsiteY2" fmla="*/ 1966577 h 4907628"/>
              <a:gd name="connsiteX3" fmla="*/ 3466711 w 6037465"/>
              <a:gd name="connsiteY3" fmla="*/ 4907628 h 4907628"/>
              <a:gd name="connsiteX4" fmla="*/ 0 w 6037465"/>
              <a:gd name="connsiteY4" fmla="*/ 3885617 h 4907628"/>
              <a:gd name="connsiteX5" fmla="*/ 241538 w 6037465"/>
              <a:gd name="connsiteY5" fmla="*/ 454429 h 4907628"/>
              <a:gd name="connsiteX0" fmla="*/ 241538 w 6037465"/>
              <a:gd name="connsiteY0" fmla="*/ 454429 h 5247869"/>
              <a:gd name="connsiteX1" fmla="*/ 5063339 w 6037465"/>
              <a:gd name="connsiteY1" fmla="*/ 0 h 5247869"/>
              <a:gd name="connsiteX2" fmla="*/ 6037465 w 6037465"/>
              <a:gd name="connsiteY2" fmla="*/ 1966577 h 5247869"/>
              <a:gd name="connsiteX3" fmla="*/ 3604934 w 6037465"/>
              <a:gd name="connsiteY3" fmla="*/ 5247869 h 5247869"/>
              <a:gd name="connsiteX4" fmla="*/ 0 w 6037465"/>
              <a:gd name="connsiteY4" fmla="*/ 3885617 h 5247869"/>
              <a:gd name="connsiteX5" fmla="*/ 241538 w 6037465"/>
              <a:gd name="connsiteY5" fmla="*/ 454429 h 52478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37465" h="5247869">
                <a:moveTo>
                  <a:pt x="241538" y="454429"/>
                </a:moveTo>
                <a:lnTo>
                  <a:pt x="5063339" y="0"/>
                </a:lnTo>
                <a:lnTo>
                  <a:pt x="6037465" y="1966577"/>
                </a:lnTo>
                <a:lnTo>
                  <a:pt x="3604934" y="5247869"/>
                </a:lnTo>
                <a:lnTo>
                  <a:pt x="0" y="3885617"/>
                </a:lnTo>
                <a:cubicBezTo>
                  <a:pt x="64395" y="2945397"/>
                  <a:pt x="170927" y="1474518"/>
                  <a:pt x="241538" y="454429"/>
                </a:cubicBezTo>
                <a:close/>
              </a:path>
            </a:pathLst>
          </a:custGeom>
          <a:ln w="19050">
            <a:solidFill>
              <a:schemeClr val="bg1"/>
            </a:solidFill>
          </a:ln>
        </p:spPr>
        <p:txBody>
          <a:bodyPr wrap="square" lIns="432000" tIns="1044000" rIns="792000" bIns="72000"/>
          <a:lstStyle>
            <a:lvl1pPr algn="ctr">
              <a:lnSpc>
                <a:spcPts val="3733"/>
              </a:lnSpc>
              <a:defRPr sz="3200" cap="all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68F66BB7-3A5C-4443-ABA2-99B015F733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0977" y="4579922"/>
            <a:ext cx="1689596" cy="91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090909"/>
      </p:ext>
    </p:extLst>
  </p:cSld>
  <p:clrMapOvr>
    <a:masterClrMapping/>
  </p:clrMapOvr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1916112"/>
            <a:ext cx="5653087" cy="1177284"/>
          </a:xfrm>
        </p:spPr>
        <p:txBody>
          <a:bodyPr anchor="b"/>
          <a:lstStyle>
            <a:lvl1pPr>
              <a:defRPr sz="2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2886074" y="2728309"/>
            <a:ext cx="9305925" cy="4129691"/>
            <a:chOff x="2579646" y="2248344"/>
            <a:chExt cx="6564354" cy="2913064"/>
          </a:xfrm>
        </p:grpSpPr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2579646" y="2248344"/>
              <a:ext cx="6564354" cy="2913063"/>
            </a:xfrm>
            <a:custGeom>
              <a:avLst/>
              <a:gdLst>
                <a:gd name="connsiteX0" fmla="*/ 6564354 w 6564354"/>
                <a:gd name="connsiteY0" fmla="*/ 0 h 2913063"/>
                <a:gd name="connsiteX1" fmla="*/ 6564354 w 6564354"/>
                <a:gd name="connsiteY1" fmla="*/ 1240190 h 2913063"/>
                <a:gd name="connsiteX2" fmla="*/ 662256 w 6564354"/>
                <a:gd name="connsiteY2" fmla="*/ 2882854 h 2913063"/>
                <a:gd name="connsiteX3" fmla="*/ 589330 w 6564354"/>
                <a:gd name="connsiteY3" fmla="*/ 2913063 h 2913063"/>
                <a:gd name="connsiteX4" fmla="*/ 0 w 6564354"/>
                <a:gd name="connsiteY4" fmla="*/ 2913063 h 2913063"/>
                <a:gd name="connsiteX5" fmla="*/ 323355 w 6564354"/>
                <a:gd name="connsiteY5" fmla="*/ 2720335 h 2913063"/>
                <a:gd name="connsiteX6" fmla="*/ 6564354 w 6564354"/>
                <a:gd name="connsiteY6" fmla="*/ 0 h 291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64354" h="2913063">
                  <a:moveTo>
                    <a:pt x="6564354" y="0"/>
                  </a:moveTo>
                  <a:lnTo>
                    <a:pt x="6564354" y="1240190"/>
                  </a:lnTo>
                  <a:cubicBezTo>
                    <a:pt x="3910384" y="1646031"/>
                    <a:pt x="2731793" y="2031305"/>
                    <a:pt x="662256" y="2882854"/>
                  </a:cubicBezTo>
                  <a:lnTo>
                    <a:pt x="589330" y="2913063"/>
                  </a:lnTo>
                  <a:lnTo>
                    <a:pt x="0" y="2913063"/>
                  </a:lnTo>
                  <a:lnTo>
                    <a:pt x="323355" y="2720335"/>
                  </a:lnTo>
                  <a:cubicBezTo>
                    <a:pt x="3116317" y="1062246"/>
                    <a:pt x="4436791" y="394872"/>
                    <a:pt x="656435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13" name="Freeform 16"/>
            <p:cNvSpPr>
              <a:spLocks/>
            </p:cNvSpPr>
            <p:nvPr userDrawn="1"/>
          </p:nvSpPr>
          <p:spPr bwMode="auto">
            <a:xfrm>
              <a:off x="3857625" y="3488182"/>
              <a:ext cx="5286375" cy="1673225"/>
            </a:xfrm>
            <a:custGeom>
              <a:avLst/>
              <a:gdLst>
                <a:gd name="T0" fmla="*/ 0 w 904"/>
                <a:gd name="T1" fmla="*/ 284 h 286"/>
                <a:gd name="T2" fmla="*/ 904 w 904"/>
                <a:gd name="T3" fmla="*/ 0 h 286"/>
                <a:gd name="T4" fmla="*/ 904 w 904"/>
                <a:gd name="T5" fmla="*/ 7 h 286"/>
                <a:gd name="T6" fmla="*/ 319 w 904"/>
                <a:gd name="T7" fmla="*/ 286 h 286"/>
                <a:gd name="T8" fmla="*/ 0 w 904"/>
                <a:gd name="T9" fmla="*/ 284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4" h="286">
                  <a:moveTo>
                    <a:pt x="0" y="284"/>
                  </a:moveTo>
                  <a:cubicBezTo>
                    <a:pt x="281" y="153"/>
                    <a:pt x="584" y="57"/>
                    <a:pt x="904" y="0"/>
                  </a:cubicBezTo>
                  <a:cubicBezTo>
                    <a:pt x="904" y="13"/>
                    <a:pt x="904" y="4"/>
                    <a:pt x="904" y="7"/>
                  </a:cubicBezTo>
                  <a:cubicBezTo>
                    <a:pt x="677" y="89"/>
                    <a:pt x="516" y="169"/>
                    <a:pt x="319" y="286"/>
                  </a:cubicBezTo>
                  <a:cubicBezTo>
                    <a:pt x="232" y="286"/>
                    <a:pt x="86" y="286"/>
                    <a:pt x="0" y="284"/>
                  </a:cubicBezTo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3657601" y="4377183"/>
              <a:ext cx="4085453" cy="784225"/>
            </a:xfrm>
            <a:custGeom>
              <a:avLst/>
              <a:gdLst>
                <a:gd name="connsiteX0" fmla="*/ 1543994 w 4085453"/>
                <a:gd name="connsiteY0" fmla="*/ 0 h 784225"/>
                <a:gd name="connsiteX1" fmla="*/ 4083688 w 4085453"/>
                <a:gd name="connsiteY1" fmla="*/ 783468 h 784225"/>
                <a:gd name="connsiteX2" fmla="*/ 4085453 w 4085453"/>
                <a:gd name="connsiteY2" fmla="*/ 784225 h 784225"/>
                <a:gd name="connsiteX3" fmla="*/ 2975528 w 4085453"/>
                <a:gd name="connsiteY3" fmla="*/ 784225 h 784225"/>
                <a:gd name="connsiteX4" fmla="*/ 2752683 w 4085453"/>
                <a:gd name="connsiteY4" fmla="*/ 732482 h 784225"/>
                <a:gd name="connsiteX5" fmla="*/ 0 w 4085453"/>
                <a:gd name="connsiteY5" fmla="*/ 579981 h 784225"/>
                <a:gd name="connsiteX6" fmla="*/ 1543994 w 4085453"/>
                <a:gd name="connsiteY6" fmla="*/ 0 h 784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5453" h="784225">
                  <a:moveTo>
                    <a:pt x="1543994" y="0"/>
                  </a:moveTo>
                  <a:cubicBezTo>
                    <a:pt x="2377399" y="92270"/>
                    <a:pt x="3549650" y="556913"/>
                    <a:pt x="4083688" y="783468"/>
                  </a:cubicBezTo>
                  <a:lnTo>
                    <a:pt x="4085453" y="784225"/>
                  </a:lnTo>
                  <a:lnTo>
                    <a:pt x="2975528" y="784225"/>
                  </a:lnTo>
                  <a:lnTo>
                    <a:pt x="2752683" y="732482"/>
                  </a:lnTo>
                  <a:cubicBezTo>
                    <a:pt x="1186598" y="400568"/>
                    <a:pt x="0" y="579981"/>
                    <a:pt x="0" y="579981"/>
                  </a:cubicBezTo>
                  <a:cubicBezTo>
                    <a:pt x="614089" y="322212"/>
                    <a:pt x="1543994" y="0"/>
                    <a:pt x="1543994" y="0"/>
                  </a:cubicBez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42913" y="3093396"/>
            <a:ext cx="5653087" cy="1557980"/>
          </a:xfrm>
        </p:spPr>
        <p:txBody>
          <a:bodyPr lIns="0" tIns="0" rIns="0" bIns="0">
            <a:noAutofit/>
          </a:bodyPr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1771438"/>
      </p:ext>
    </p:extLst>
  </p:cSld>
  <p:clrMapOvr>
    <a:masterClrMapping/>
  </p:clrMapOvr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63763"/>
            <a:ext cx="10363200" cy="1470025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0632546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1233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/>
          </p:nvPr>
        </p:nvSpPr>
        <p:spPr>
          <a:xfrm>
            <a:off x="442800" y="940751"/>
            <a:ext cx="11235796" cy="371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CH" sz="1867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>
              <a:lnSpc>
                <a:spcPts val="2880"/>
              </a:lnSpc>
              <a:spcAft>
                <a:spcPts val="0"/>
              </a:spcAft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916113"/>
            <a:ext cx="11306175" cy="4008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191917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84338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Only" preserve="1">
  <p:cSld name="Full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85747"/>
          </a:xfrm>
          <a:prstGeom prst="rect">
            <a:avLst/>
          </a:prstGeom>
        </p:spPr>
        <p:txBody>
          <a:bodyPr tIns="54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191309"/>
            <a:ext cx="12192000" cy="0"/>
          </a:xfrm>
          <a:prstGeom prst="line">
            <a:avLst/>
          </a:prstGeom>
          <a:ln w="12700">
            <a:solidFill>
              <a:srgbClr val="E500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819837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28391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"/>
          <p:cNvSpPr>
            <a:spLocks/>
          </p:cNvSpPr>
          <p:nvPr userDrawn="1"/>
        </p:nvSpPr>
        <p:spPr bwMode="auto">
          <a:xfrm>
            <a:off x="6690228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>
            <a:off x="6791325" y="0"/>
            <a:ext cx="3621088" cy="6858000"/>
          </a:xfrm>
          <a:custGeom>
            <a:avLst/>
            <a:gdLst>
              <a:gd name="T0" fmla="*/ 19 w 419"/>
              <a:gd name="T1" fmla="*/ 1 h 794"/>
              <a:gd name="T2" fmla="*/ 19 w 419"/>
              <a:gd name="T3" fmla="*/ 0 h 794"/>
              <a:gd name="T4" fmla="*/ 4 w 419"/>
              <a:gd name="T5" fmla="*/ 0 h 794"/>
              <a:gd name="T6" fmla="*/ 324 w 419"/>
              <a:gd name="T7" fmla="*/ 320 h 794"/>
              <a:gd name="T8" fmla="*/ 324 w 419"/>
              <a:gd name="T9" fmla="*/ 470 h 794"/>
              <a:gd name="T10" fmla="*/ 0 w 419"/>
              <a:gd name="T11" fmla="*/ 794 h 794"/>
              <a:gd name="T12" fmla="*/ 92 w 419"/>
              <a:gd name="T13" fmla="*/ 794 h 794"/>
              <a:gd name="T14" fmla="*/ 377 w 419"/>
              <a:gd name="T15" fmla="*/ 509 h 794"/>
              <a:gd name="T16" fmla="*/ 377 w 419"/>
              <a:gd name="T17" fmla="*/ 359 h 794"/>
              <a:gd name="T18" fmla="*/ 19 w 419"/>
              <a:gd name="T19" fmla="*/ 1 h 7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9" h="794">
                <a:moveTo>
                  <a:pt x="19" y="1"/>
                </a:moveTo>
                <a:cubicBezTo>
                  <a:pt x="19" y="0"/>
                  <a:pt x="19" y="0"/>
                  <a:pt x="19" y="0"/>
                </a:cubicBezTo>
                <a:cubicBezTo>
                  <a:pt x="4" y="0"/>
                  <a:pt x="4" y="0"/>
                  <a:pt x="4" y="0"/>
                </a:cubicBezTo>
                <a:cubicBezTo>
                  <a:pt x="324" y="320"/>
                  <a:pt x="324" y="320"/>
                  <a:pt x="324" y="320"/>
                </a:cubicBezTo>
                <a:cubicBezTo>
                  <a:pt x="365" y="362"/>
                  <a:pt x="365" y="429"/>
                  <a:pt x="324" y="470"/>
                </a:cubicBezTo>
                <a:cubicBezTo>
                  <a:pt x="0" y="794"/>
                  <a:pt x="0" y="794"/>
                  <a:pt x="0" y="794"/>
                </a:cubicBezTo>
                <a:cubicBezTo>
                  <a:pt x="92" y="794"/>
                  <a:pt x="92" y="794"/>
                  <a:pt x="92" y="794"/>
                </a:cubicBezTo>
                <a:cubicBezTo>
                  <a:pt x="377" y="509"/>
                  <a:pt x="377" y="509"/>
                  <a:pt x="377" y="509"/>
                </a:cubicBezTo>
                <a:cubicBezTo>
                  <a:pt x="419" y="467"/>
                  <a:pt x="419" y="400"/>
                  <a:pt x="377" y="359"/>
                </a:cubicBezTo>
                <a:lnTo>
                  <a:pt x="19" y="1"/>
                </a:lnTo>
                <a:close/>
              </a:path>
            </a:pathLst>
          </a:custGeom>
          <a:solidFill>
            <a:schemeClr val="bg2">
              <a:alpha val="30000"/>
            </a:schemeClr>
          </a:solidFill>
          <a:ln>
            <a:noFill/>
          </a:ln>
          <a:effectLst>
            <a:outerShdw blurRad="190500" dir="13500000" sy="23000" kx="1200000" algn="br" rotWithShape="0">
              <a:prstClr val="black">
                <a:alpha val="7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3196814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4504531" y="1462076"/>
            <a:ext cx="3173411" cy="1141425"/>
            <a:chOff x="4214813" y="817826"/>
            <a:chExt cx="4143637" cy="1490400"/>
          </a:xfr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grpSpPr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5597525" y="817826"/>
              <a:ext cx="2058987" cy="695326"/>
            </a:xfrm>
            <a:custGeom>
              <a:avLst/>
              <a:gdLst>
                <a:gd name="T0" fmla="*/ 216 w 216"/>
                <a:gd name="T1" fmla="*/ 70 h 73"/>
                <a:gd name="T2" fmla="*/ 0 w 216"/>
                <a:gd name="T3" fmla="*/ 0 h 73"/>
                <a:gd name="T4" fmla="*/ 4 w 216"/>
                <a:gd name="T5" fmla="*/ 2 h 73"/>
                <a:gd name="T6" fmla="*/ 155 w 216"/>
                <a:gd name="T7" fmla="*/ 73 h 73"/>
                <a:gd name="T8" fmla="*/ 216 w 216"/>
                <a:gd name="T9" fmla="*/ 7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73">
                  <a:moveTo>
                    <a:pt x="216" y="70"/>
                  </a:moveTo>
                  <a:cubicBezTo>
                    <a:pt x="149" y="39"/>
                    <a:pt x="77" y="15"/>
                    <a:pt x="0" y="0"/>
                  </a:cubicBezTo>
                  <a:cubicBezTo>
                    <a:pt x="2" y="0"/>
                    <a:pt x="3" y="1"/>
                    <a:pt x="4" y="2"/>
                  </a:cubicBezTo>
                  <a:cubicBezTo>
                    <a:pt x="58" y="21"/>
                    <a:pt x="108" y="46"/>
                    <a:pt x="155" y="73"/>
                  </a:cubicBezTo>
                  <a:cubicBezTo>
                    <a:pt x="175" y="71"/>
                    <a:pt x="195" y="70"/>
                    <a:pt x="216" y="70"/>
                  </a:cubicBezTo>
                  <a:close/>
                </a:path>
              </a:pathLst>
            </a:custGeom>
            <a:solidFill>
              <a:schemeClr val="accent5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4262438" y="836875"/>
              <a:ext cx="3222625" cy="1439863"/>
            </a:xfrm>
            <a:custGeom>
              <a:avLst/>
              <a:gdLst>
                <a:gd name="T0" fmla="*/ 295 w 338"/>
                <a:gd name="T1" fmla="*/ 71 h 151"/>
                <a:gd name="T2" fmla="*/ 144 w 338"/>
                <a:gd name="T3" fmla="*/ 0 h 151"/>
                <a:gd name="T4" fmla="*/ 207 w 338"/>
                <a:gd name="T5" fmla="*/ 50 h 151"/>
                <a:gd name="T6" fmla="*/ 207 w 338"/>
                <a:gd name="T7" fmla="*/ 50 h 151"/>
                <a:gd name="T8" fmla="*/ 240 w 338"/>
                <a:gd name="T9" fmla="*/ 78 h 151"/>
                <a:gd name="T10" fmla="*/ 0 w 338"/>
                <a:gd name="T11" fmla="*/ 151 h 151"/>
                <a:gd name="T12" fmla="*/ 262 w 338"/>
                <a:gd name="T13" fmla="*/ 98 h 151"/>
                <a:gd name="T14" fmla="*/ 338 w 338"/>
                <a:gd name="T15" fmla="*/ 98 h 151"/>
                <a:gd name="T16" fmla="*/ 295 w 338"/>
                <a:gd name="T17" fmla="*/ 7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8" h="151">
                  <a:moveTo>
                    <a:pt x="295" y="71"/>
                  </a:moveTo>
                  <a:cubicBezTo>
                    <a:pt x="248" y="44"/>
                    <a:pt x="198" y="19"/>
                    <a:pt x="144" y="0"/>
                  </a:cubicBezTo>
                  <a:cubicBezTo>
                    <a:pt x="166" y="16"/>
                    <a:pt x="187" y="32"/>
                    <a:pt x="207" y="50"/>
                  </a:cubicBezTo>
                  <a:cubicBezTo>
                    <a:pt x="207" y="50"/>
                    <a:pt x="207" y="50"/>
                    <a:pt x="207" y="50"/>
                  </a:cubicBezTo>
                  <a:cubicBezTo>
                    <a:pt x="218" y="59"/>
                    <a:pt x="229" y="68"/>
                    <a:pt x="240" y="78"/>
                  </a:cubicBezTo>
                  <a:cubicBezTo>
                    <a:pt x="155" y="91"/>
                    <a:pt x="74" y="116"/>
                    <a:pt x="0" y="151"/>
                  </a:cubicBezTo>
                  <a:cubicBezTo>
                    <a:pt x="82" y="121"/>
                    <a:pt x="171" y="103"/>
                    <a:pt x="262" y="98"/>
                  </a:cubicBezTo>
                  <a:cubicBezTo>
                    <a:pt x="287" y="97"/>
                    <a:pt x="313" y="97"/>
                    <a:pt x="338" y="98"/>
                  </a:cubicBezTo>
                  <a:cubicBezTo>
                    <a:pt x="324" y="89"/>
                    <a:pt x="310" y="80"/>
                    <a:pt x="295" y="71"/>
                  </a:cubicBezTo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7"/>
            <p:cNvSpPr>
              <a:spLocks/>
            </p:cNvSpPr>
            <p:nvPr userDrawn="1"/>
          </p:nvSpPr>
          <p:spPr bwMode="auto">
            <a:xfrm>
              <a:off x="4214813" y="1325563"/>
              <a:ext cx="2335213" cy="982663"/>
            </a:xfrm>
            <a:custGeom>
              <a:avLst/>
              <a:gdLst>
                <a:gd name="T0" fmla="*/ 212 w 245"/>
                <a:gd name="T1" fmla="*/ 0 h 103"/>
                <a:gd name="T2" fmla="*/ 0 w 245"/>
                <a:gd name="T3" fmla="*/ 103 h 103"/>
                <a:gd name="T4" fmla="*/ 6 w 245"/>
                <a:gd name="T5" fmla="*/ 101 h 103"/>
                <a:gd name="T6" fmla="*/ 245 w 245"/>
                <a:gd name="T7" fmla="*/ 28 h 103"/>
                <a:gd name="T8" fmla="*/ 212 w 245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103">
                  <a:moveTo>
                    <a:pt x="212" y="0"/>
                  </a:moveTo>
                  <a:cubicBezTo>
                    <a:pt x="135" y="25"/>
                    <a:pt x="63" y="60"/>
                    <a:pt x="0" y="103"/>
                  </a:cubicBezTo>
                  <a:cubicBezTo>
                    <a:pt x="2" y="102"/>
                    <a:pt x="4" y="101"/>
                    <a:pt x="6" y="101"/>
                  </a:cubicBezTo>
                  <a:cubicBezTo>
                    <a:pt x="79" y="66"/>
                    <a:pt x="160" y="41"/>
                    <a:pt x="245" y="28"/>
                  </a:cubicBezTo>
                  <a:cubicBezTo>
                    <a:pt x="235" y="18"/>
                    <a:pt x="224" y="9"/>
                    <a:pt x="212" y="0"/>
                  </a:cubicBezTo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7061463" y="1484575"/>
              <a:ext cx="1296987" cy="373063"/>
            </a:xfrm>
            <a:custGeom>
              <a:avLst/>
              <a:gdLst>
                <a:gd name="T0" fmla="*/ 61 w 136"/>
                <a:gd name="T1" fmla="*/ 0 h 39"/>
                <a:gd name="T2" fmla="*/ 0 w 136"/>
                <a:gd name="T3" fmla="*/ 3 h 39"/>
                <a:gd name="T4" fmla="*/ 43 w 136"/>
                <a:gd name="T5" fmla="*/ 30 h 39"/>
                <a:gd name="T6" fmla="*/ 136 w 136"/>
                <a:gd name="T7" fmla="*/ 39 h 39"/>
                <a:gd name="T8" fmla="*/ 61 w 136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39">
                  <a:moveTo>
                    <a:pt x="61" y="0"/>
                  </a:moveTo>
                  <a:cubicBezTo>
                    <a:pt x="40" y="0"/>
                    <a:pt x="20" y="1"/>
                    <a:pt x="0" y="3"/>
                  </a:cubicBezTo>
                  <a:cubicBezTo>
                    <a:pt x="15" y="12"/>
                    <a:pt x="29" y="21"/>
                    <a:pt x="43" y="30"/>
                  </a:cubicBezTo>
                  <a:cubicBezTo>
                    <a:pt x="74" y="32"/>
                    <a:pt x="105" y="35"/>
                    <a:pt x="136" y="39"/>
                  </a:cubicBezTo>
                  <a:cubicBezTo>
                    <a:pt x="112" y="25"/>
                    <a:pt x="87" y="12"/>
                    <a:pt x="61" y="0"/>
                  </a:cubicBezTo>
                  <a:close/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3367601634"/>
      </p:ext>
    </p:extLst>
  </p:cSld>
  <p:clrMapOvr>
    <a:masterClrMapping/>
  </p:clrMapOvr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23581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98390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1992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7"/>
          <p:cNvSpPr>
            <a:spLocks/>
          </p:cNvSpPr>
          <p:nvPr userDrawn="1"/>
        </p:nvSpPr>
        <p:spPr bwMode="auto">
          <a:xfrm>
            <a:off x="4876800" y="0"/>
            <a:ext cx="7312025" cy="4524375"/>
          </a:xfrm>
          <a:custGeom>
            <a:avLst/>
            <a:gdLst>
              <a:gd name="T0" fmla="*/ 4606 w 4606"/>
              <a:gd name="T1" fmla="*/ 0 h 2850"/>
              <a:gd name="T2" fmla="*/ 0 w 4606"/>
              <a:gd name="T3" fmla="*/ 0 h 2850"/>
              <a:gd name="T4" fmla="*/ 2927 w 4606"/>
              <a:gd name="T5" fmla="*/ 2850 h 2850"/>
              <a:gd name="T6" fmla="*/ 4606 w 4606"/>
              <a:gd name="T7" fmla="*/ 1122 h 2850"/>
              <a:gd name="T8" fmla="*/ 4606 w 4606"/>
              <a:gd name="T9" fmla="*/ 0 h 2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06" h="2850">
                <a:moveTo>
                  <a:pt x="4606" y="0"/>
                </a:moveTo>
                <a:lnTo>
                  <a:pt x="0" y="0"/>
                </a:lnTo>
                <a:lnTo>
                  <a:pt x="2927" y="2850"/>
                </a:lnTo>
                <a:lnTo>
                  <a:pt x="4606" y="1122"/>
                </a:lnTo>
                <a:lnTo>
                  <a:pt x="4606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9513888" y="0"/>
            <a:ext cx="2674938" cy="6858000"/>
          </a:xfrm>
          <a:custGeom>
            <a:avLst/>
            <a:gdLst>
              <a:gd name="T0" fmla="*/ 281 w 281"/>
              <a:gd name="T1" fmla="*/ 150 h 720"/>
              <a:gd name="T2" fmla="*/ 113 w 281"/>
              <a:gd name="T3" fmla="*/ 0 h 720"/>
              <a:gd name="T4" fmla="*/ 99 w 281"/>
              <a:gd name="T5" fmla="*/ 0 h 720"/>
              <a:gd name="T6" fmla="*/ 229 w 281"/>
              <a:gd name="T7" fmla="*/ 214 h 720"/>
              <a:gd name="T8" fmla="*/ 0 w 281"/>
              <a:gd name="T9" fmla="*/ 473 h 720"/>
              <a:gd name="T10" fmla="*/ 228 w 281"/>
              <a:gd name="T11" fmla="*/ 720 h 720"/>
              <a:gd name="T12" fmla="*/ 281 w 281"/>
              <a:gd name="T13" fmla="*/ 720 h 720"/>
              <a:gd name="T14" fmla="*/ 281 w 281"/>
              <a:gd name="T15" fmla="*/ 15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81" h="720">
                <a:moveTo>
                  <a:pt x="281" y="150"/>
                </a:moveTo>
                <a:cubicBezTo>
                  <a:pt x="208" y="81"/>
                  <a:pt x="141" y="23"/>
                  <a:pt x="113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43" y="54"/>
                  <a:pt x="246" y="177"/>
                  <a:pt x="229" y="214"/>
                </a:cubicBezTo>
                <a:cubicBezTo>
                  <a:pt x="193" y="289"/>
                  <a:pt x="0" y="473"/>
                  <a:pt x="0" y="473"/>
                </a:cubicBezTo>
                <a:cubicBezTo>
                  <a:pt x="0" y="473"/>
                  <a:pt x="191" y="643"/>
                  <a:pt x="228" y="720"/>
                </a:cubicBezTo>
                <a:cubicBezTo>
                  <a:pt x="281" y="720"/>
                  <a:pt x="281" y="720"/>
                  <a:pt x="281" y="720"/>
                </a:cubicBezTo>
                <a:lnTo>
                  <a:pt x="281" y="15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reeform 15"/>
          <p:cNvSpPr>
            <a:spLocks/>
          </p:cNvSpPr>
          <p:nvPr userDrawn="1"/>
        </p:nvSpPr>
        <p:spPr bwMode="auto">
          <a:xfrm>
            <a:off x="7096125" y="4457700"/>
            <a:ext cx="4806950" cy="2400300"/>
          </a:xfrm>
          <a:custGeom>
            <a:avLst/>
            <a:gdLst>
              <a:gd name="T0" fmla="*/ 3028 w 3028"/>
              <a:gd name="T1" fmla="*/ 1512 h 1512"/>
              <a:gd name="T2" fmla="*/ 1553 w 3028"/>
              <a:gd name="T3" fmla="*/ 0 h 1512"/>
              <a:gd name="T4" fmla="*/ 0 w 3028"/>
              <a:gd name="T5" fmla="*/ 1512 h 1512"/>
              <a:gd name="T6" fmla="*/ 3028 w 3028"/>
              <a:gd name="T7" fmla="*/ 1512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28" h="1512">
                <a:moveTo>
                  <a:pt x="3028" y="1512"/>
                </a:moveTo>
                <a:lnTo>
                  <a:pt x="1553" y="0"/>
                </a:lnTo>
                <a:lnTo>
                  <a:pt x="0" y="1512"/>
                </a:lnTo>
                <a:lnTo>
                  <a:pt x="3028" y="1512"/>
                </a:lnTo>
                <a:close/>
              </a:path>
            </a:pathLst>
          </a:custGeom>
          <a:solidFill>
            <a:srgbClr val="F2F4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676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 preserve="1">
  <p:cSld name="Thank You Slid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718" y="452967"/>
            <a:ext cx="8494645" cy="34624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0" y="6191309"/>
            <a:ext cx="12192000" cy="0"/>
          </a:xfrm>
          <a:prstGeom prst="line">
            <a:avLst/>
          </a:prstGeom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hhider"/>
          <p:cNvSpPr/>
          <p:nvPr userDrawn="1">
            <p:custDataLst>
              <p:tags r:id="rId1"/>
            </p:custDataLst>
          </p:nvPr>
        </p:nvSpPr>
        <p:spPr>
          <a:xfrm>
            <a:off x="821" y="6191309"/>
            <a:ext cx="12191180" cy="666691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FCF53EAD-04D1-4EB3-8F77-13DD055D4C07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8" name="Content Placeholder 7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61209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9573"/>
            <a:ext cx="11306175" cy="901866"/>
          </a:xfrm>
        </p:spPr>
        <p:txBody>
          <a:bodyPr/>
          <a:lstStyle>
            <a:lvl1pPr>
              <a:lnSpc>
                <a:spcPct val="100000"/>
              </a:lnSpc>
              <a:defRPr sz="180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42913" y="1341439"/>
            <a:ext cx="11306175" cy="4583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948940" y="6000750"/>
            <a:ext cx="7490335" cy="727098"/>
          </a:xfrm>
        </p:spPr>
        <p:txBody>
          <a:bodyPr anchor="b" anchorCtr="0"/>
          <a:lstStyle>
            <a:lvl1pPr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insert references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995330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45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31800" y="150848"/>
            <a:ext cx="11336867" cy="469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cap="none" baseline="0"/>
            </a:lvl1pPr>
          </a:lstStyle>
          <a:p>
            <a:r>
              <a:rPr lang="en-GB" noProof="0" dirty="0"/>
              <a:t>Click to edit master title slid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31800" y="959281"/>
            <a:ext cx="11331624" cy="535336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buClr>
                <a:srgbClr val="CC0033"/>
              </a:buClr>
              <a:defRPr/>
            </a:lvl1pPr>
            <a:lvl2pPr>
              <a:buClr>
                <a:srgbClr val="CC0033"/>
              </a:buClr>
              <a:defRPr/>
            </a:lvl2pPr>
            <a:lvl3pPr>
              <a:buClr>
                <a:srgbClr val="CC0033"/>
              </a:buClr>
              <a:defRPr/>
            </a:lvl3pPr>
            <a:lvl4pPr>
              <a:buClr>
                <a:srgbClr val="CC0033"/>
              </a:buClr>
              <a:defRPr/>
            </a:lvl4pPr>
            <a:lvl5pPr>
              <a:buClr>
                <a:srgbClr val="CC0033"/>
              </a:buClr>
              <a:defRPr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1" y="6326504"/>
            <a:ext cx="11358033" cy="153888"/>
          </a:xfrm>
        </p:spPr>
        <p:txBody>
          <a:bodyPr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</a:lstStyle>
          <a:p>
            <a:pPr lvl="0"/>
            <a:r>
              <a:rPr lang="en-GB" noProof="0" dirty="0"/>
              <a:t>References.</a:t>
            </a:r>
          </a:p>
        </p:txBody>
      </p:sp>
    </p:spTree>
    <p:extLst>
      <p:ext uri="{BB962C8B-B14F-4D97-AF65-F5344CB8AC3E}">
        <p14:creationId xmlns:p14="http://schemas.microsoft.com/office/powerpoint/2010/main" val="4723354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2390922368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Bullets" preserve="1" userDrawn="1">
  <p:cSld name="1_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0" y="-9525"/>
            <a:ext cx="1220152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803775" y="2108200"/>
            <a:ext cx="7397751" cy="4749801"/>
            <a:chOff x="4803775" y="2108200"/>
            <a:chExt cx="7397751" cy="4749801"/>
          </a:xfrm>
        </p:grpSpPr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912225" y="2108200"/>
              <a:ext cx="3289300" cy="1430338"/>
            </a:xfrm>
            <a:custGeom>
              <a:avLst/>
              <a:gdLst>
                <a:gd name="T0" fmla="*/ 345 w 345"/>
                <a:gd name="T1" fmla="*/ 87 h 150"/>
                <a:gd name="T2" fmla="*/ 0 w 345"/>
                <a:gd name="T3" fmla="*/ 0 h 150"/>
                <a:gd name="T4" fmla="*/ 11 w 345"/>
                <a:gd name="T5" fmla="*/ 7 h 150"/>
                <a:gd name="T6" fmla="*/ 345 w 345"/>
                <a:gd name="T7" fmla="*/ 150 h 150"/>
                <a:gd name="T8" fmla="*/ 345 w 345"/>
                <a:gd name="T9" fmla="*/ 8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50">
                  <a:moveTo>
                    <a:pt x="345" y="87"/>
                  </a:moveTo>
                  <a:cubicBezTo>
                    <a:pt x="233" y="52"/>
                    <a:pt x="117" y="23"/>
                    <a:pt x="0" y="0"/>
                  </a:cubicBezTo>
                  <a:cubicBezTo>
                    <a:pt x="3" y="2"/>
                    <a:pt x="7" y="5"/>
                    <a:pt x="11" y="7"/>
                  </a:cubicBezTo>
                  <a:cubicBezTo>
                    <a:pt x="127" y="50"/>
                    <a:pt x="238" y="98"/>
                    <a:pt x="345" y="150"/>
                  </a:cubicBezTo>
                  <a:lnTo>
                    <a:pt x="345" y="8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017000" y="2174875"/>
              <a:ext cx="3184525" cy="2574925"/>
            </a:xfrm>
            <a:custGeom>
              <a:avLst/>
              <a:gdLst>
                <a:gd name="T0" fmla="*/ 228 w 334"/>
                <a:gd name="T1" fmla="*/ 180 h 270"/>
                <a:gd name="T2" fmla="*/ 334 w 334"/>
                <a:gd name="T3" fmla="*/ 270 h 270"/>
                <a:gd name="T4" fmla="*/ 334 w 334"/>
                <a:gd name="T5" fmla="*/ 143 h 270"/>
                <a:gd name="T6" fmla="*/ 0 w 334"/>
                <a:gd name="T7" fmla="*/ 0 h 270"/>
                <a:gd name="T8" fmla="*/ 229 w 334"/>
                <a:gd name="T9" fmla="*/ 179 h 270"/>
                <a:gd name="T10" fmla="*/ 228 w 334"/>
                <a:gd name="T11" fmla="*/ 18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70">
                  <a:moveTo>
                    <a:pt x="228" y="180"/>
                  </a:moveTo>
                  <a:cubicBezTo>
                    <a:pt x="264" y="209"/>
                    <a:pt x="300" y="240"/>
                    <a:pt x="334" y="270"/>
                  </a:cubicBezTo>
                  <a:cubicBezTo>
                    <a:pt x="334" y="143"/>
                    <a:pt x="334" y="143"/>
                    <a:pt x="334" y="143"/>
                  </a:cubicBezTo>
                  <a:cubicBezTo>
                    <a:pt x="227" y="91"/>
                    <a:pt x="116" y="43"/>
                    <a:pt x="0" y="0"/>
                  </a:cubicBezTo>
                  <a:cubicBezTo>
                    <a:pt x="81" y="57"/>
                    <a:pt x="156" y="117"/>
                    <a:pt x="229" y="179"/>
                  </a:cubicBezTo>
                  <a:cubicBezTo>
                    <a:pt x="228" y="180"/>
                    <a:pt x="228" y="180"/>
                    <a:pt x="228" y="18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4803775" y="3890963"/>
              <a:ext cx="7397750" cy="2967038"/>
            </a:xfrm>
            <a:custGeom>
              <a:avLst/>
              <a:gdLst>
                <a:gd name="T0" fmla="*/ 776 w 776"/>
                <a:gd name="T1" fmla="*/ 89 h 311"/>
                <a:gd name="T2" fmla="*/ 671 w 776"/>
                <a:gd name="T3" fmla="*/ 0 h 311"/>
                <a:gd name="T4" fmla="*/ 0 w 776"/>
                <a:gd name="T5" fmla="*/ 311 h 311"/>
                <a:gd name="T6" fmla="*/ 43 w 776"/>
                <a:gd name="T7" fmla="*/ 311 h 311"/>
                <a:gd name="T8" fmla="*/ 776 w 776"/>
                <a:gd name="T9" fmla="*/ 103 h 311"/>
                <a:gd name="T10" fmla="*/ 776 w 776"/>
                <a:gd name="T11" fmla="*/ 8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6" h="311">
                  <a:moveTo>
                    <a:pt x="776" y="89"/>
                  </a:moveTo>
                  <a:cubicBezTo>
                    <a:pt x="742" y="59"/>
                    <a:pt x="707" y="29"/>
                    <a:pt x="671" y="0"/>
                  </a:cubicBezTo>
                  <a:cubicBezTo>
                    <a:pt x="428" y="79"/>
                    <a:pt x="203" y="185"/>
                    <a:pt x="0" y="311"/>
                  </a:cubicBezTo>
                  <a:cubicBezTo>
                    <a:pt x="43" y="311"/>
                    <a:pt x="43" y="311"/>
                    <a:pt x="43" y="311"/>
                  </a:cubicBezTo>
                  <a:cubicBezTo>
                    <a:pt x="272" y="214"/>
                    <a:pt x="518" y="143"/>
                    <a:pt x="776" y="103"/>
                  </a:cubicBezTo>
                  <a:lnTo>
                    <a:pt x="776" y="8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05413" y="4873625"/>
              <a:ext cx="6996113" cy="1984375"/>
            </a:xfrm>
            <a:custGeom>
              <a:avLst/>
              <a:gdLst>
                <a:gd name="T0" fmla="*/ 37 w 734"/>
                <a:gd name="T1" fmla="*/ 208 h 208"/>
                <a:gd name="T2" fmla="*/ 734 w 734"/>
                <a:gd name="T3" fmla="*/ 77 h 208"/>
                <a:gd name="T4" fmla="*/ 734 w 734"/>
                <a:gd name="T5" fmla="*/ 0 h 208"/>
                <a:gd name="T6" fmla="*/ 0 w 734"/>
                <a:gd name="T7" fmla="*/ 208 h 208"/>
                <a:gd name="T8" fmla="*/ 37 w 734"/>
                <a:gd name="T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4" h="208">
                  <a:moveTo>
                    <a:pt x="37" y="208"/>
                  </a:moveTo>
                  <a:cubicBezTo>
                    <a:pt x="260" y="139"/>
                    <a:pt x="494" y="94"/>
                    <a:pt x="734" y="77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476" y="40"/>
                    <a:pt x="229" y="111"/>
                    <a:pt x="0" y="208"/>
                  </a:cubicBezTo>
                  <a:lnTo>
                    <a:pt x="37" y="2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913" y="3428999"/>
            <a:ext cx="5653087" cy="2063217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6105307"/>
            <a:ext cx="12192000" cy="139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1719112326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image" Target="../media/image6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61" Type="http://schemas.openxmlformats.org/officeDocument/2006/relationships/image" Target="../media/image5.emf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oleObject" Target="../embeddings/oleObject3.bin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2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56" Type="http://schemas.openxmlformats.org/officeDocument/2006/relationships/tags" Target="../tags/tag57.xml"/><Relationship Id="rId8" Type="http://schemas.openxmlformats.org/officeDocument/2006/relationships/slideLayout" Target="../slideLayouts/slideLayout23.xml"/><Relationship Id="rId51" Type="http://schemas.openxmlformats.org/officeDocument/2006/relationships/tags" Target="../tags/tag52.xml"/><Relationship Id="rId3" Type="http://schemas.openxmlformats.org/officeDocument/2006/relationships/slideLayout" Target="../slideLayouts/slideLayout1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tags" Target="../tags/tag6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oleObject" Target="../embeddings/oleObject6.bin"/><Relationship Id="rId3" Type="http://schemas.openxmlformats.org/officeDocument/2006/relationships/slideLayout" Target="../slideLayouts/slideLayout26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tags" Target="../tags/tag66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65.xml"/><Relationship Id="rId20" Type="http://schemas.openxmlformats.org/officeDocument/2006/relationships/image" Target="../media/image15.tif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3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tags" Target="../tags/tag74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tags" Target="../tags/tag73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oleObject" Target="../embeddings/oleObject7.bin"/><Relationship Id="rId30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63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10" Type="http://schemas.openxmlformats.org/officeDocument/2006/relationships/image" Target="../media/image3.jpeg"/><Relationship Id="rId4" Type="http://schemas.openxmlformats.org/officeDocument/2006/relationships/theme" Target="../theme/theme5.xml"/><Relationship Id="rId9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oleObject" Target="../embeddings/oleObject10.bin"/><Relationship Id="rId2" Type="http://schemas.openxmlformats.org/officeDocument/2006/relationships/slideLayout" Target="../slideLayouts/slideLayout65.xml"/><Relationship Id="rId16" Type="http://schemas.openxmlformats.org/officeDocument/2006/relationships/tags" Target="../tags/tag8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tags" Target="../tags/tag85.xml"/><Relationship Id="rId10" Type="http://schemas.openxmlformats.org/officeDocument/2006/relationships/slideLayout" Target="../slideLayouts/slideLayout73.xml"/><Relationship Id="rId19" Type="http://schemas.openxmlformats.org/officeDocument/2006/relationships/image" Target="../media/image15.tiff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BF0140-3FD7-4150-BA1A-8B3A002B64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18342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54" name="Content Placeholder 7"/>
          <p:cNvPicPr>
            <a:picLocks noChangeAspect="1"/>
          </p:cNvPicPr>
          <p:nvPr userDrawn="1"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685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18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89120414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360" imgH="360" progId="">
                  <p:embed/>
                </p:oleObj>
              </mc:Choice>
              <mc:Fallback>
                <p:oleObj name="think-cell Slide" r:id="rId60" imgW="360" imgH="360" progId="">
                  <p:embed/>
                  <p:pic>
                    <p:nvPicPr>
                      <p:cNvPr id="0" name="Picture 1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1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33C26D1A-0705-42F8-B032-994E5A2C94F2}"/>
              </a:ext>
            </a:extLst>
          </p:cNvPr>
          <p:cNvSpPr/>
          <p:nvPr userDrawn="1"/>
        </p:nvSpPr>
        <p:spPr>
          <a:xfrm>
            <a:off x="0" y="6090384"/>
            <a:ext cx="12192000" cy="7676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619690" y="540024"/>
            <a:ext cx="10990479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619690" y="77303"/>
            <a:ext cx="644407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67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619690" y="1034737"/>
            <a:ext cx="10990479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2133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619690" y="5906368"/>
            <a:ext cx="1099047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18530" indent="-118530">
              <a:defRPr lang="x-none"/>
            </a:pPr>
            <a:r>
              <a:rPr lang="en-US" sz="1067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619690" y="6392363"/>
            <a:ext cx="751084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690016" indent="-690016" defTabSz="1218026">
              <a:tabLst/>
            </a:pPr>
            <a:r>
              <a:rPr lang="en-US" sz="1067" baseline="0" noProof="0">
                <a:solidFill>
                  <a:schemeClr val="bg1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Rectangle 286"/>
          <p:cNvSpPr>
            <a:spLocks noGrp="1"/>
          </p:cNvSpPr>
          <p:nvPr userDrawn="1">
            <p:ph type="body" idx="1"/>
          </p:nvPr>
        </p:nvSpPr>
        <p:spPr bwMode="gray">
          <a:xfrm>
            <a:off x="2371623" y="2608263"/>
            <a:ext cx="5801188" cy="16414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750367"/>
            <a:ext cx="5801188" cy="675436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2133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2133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308803" y="6392087"/>
            <a:ext cx="301365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67" baseline="0" smtClean="0">
                <a:solidFill>
                  <a:schemeClr val="bg1"/>
                </a:solidFill>
              </a:rPr>
              <a:pPr lvl="0" algn="r"/>
              <a:t>‹#›</a:t>
            </a:fld>
            <a:endParaRPr lang="en-US" sz="1067" baseline="0">
              <a:solidFill>
                <a:schemeClr val="bg1"/>
              </a:solidFill>
            </a:endParaRPr>
          </a:p>
        </p:txBody>
      </p:sp>
      <p:grpSp>
        <p:nvGrpSpPr>
          <p:cNvPr id="60" name="Sticker" hidden="1"/>
          <p:cNvGrpSpPr/>
          <p:nvPr userDrawn="1"/>
        </p:nvGrpSpPr>
        <p:grpSpPr bwMode="gray">
          <a:xfrm>
            <a:off x="10912062" y="1128968"/>
            <a:ext cx="635237" cy="191912"/>
            <a:chOff x="8264347" y="285750"/>
            <a:chExt cx="476428" cy="143934"/>
          </a:xfrm>
        </p:grpSpPr>
        <p:sp>
          <p:nvSpPr>
            <p:cNvPr id="62" name="StickerRectangle"/>
            <p:cNvSpPr>
              <a:spLocks noChangeArrowheads="1"/>
            </p:cNvSpPr>
            <p:nvPr/>
          </p:nvSpPr>
          <p:spPr bwMode="gray">
            <a:xfrm>
              <a:off x="8264347" y="285750"/>
              <a:ext cx="476428" cy="1439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770">
                <a:buClr>
                  <a:srgbClr val="002960"/>
                </a:buClr>
              </a:pPr>
              <a:r>
                <a:rPr lang="x-none" sz="1067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63" name="AutoShape 31"/>
            <p:cNvCxnSpPr>
              <a:cxnSpLocks noChangeShapeType="1"/>
              <a:stCxn id="62" idx="2"/>
              <a:endCxn id="62" idx="4"/>
            </p:cNvCxnSpPr>
            <p:nvPr/>
          </p:nvCxnSpPr>
          <p:spPr bwMode="gray">
            <a:xfrm>
              <a:off x="8264347" y="285750"/>
              <a:ext cx="0" cy="14393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4" name="AutoShape 32"/>
            <p:cNvCxnSpPr>
              <a:cxnSpLocks noChangeShapeType="1"/>
              <a:stCxn id="62" idx="4"/>
              <a:endCxn id="62" idx="6"/>
            </p:cNvCxnSpPr>
            <p:nvPr/>
          </p:nvCxnSpPr>
          <p:spPr bwMode="gray">
            <a:xfrm>
              <a:off x="8264347" y="429684"/>
              <a:ext cx="47642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5" name="LegendBoxes" hidden="1"/>
          <p:cNvGrpSpPr/>
          <p:nvPr userDrawn="1"/>
        </p:nvGrpSpPr>
        <p:grpSpPr bwMode="gray">
          <a:xfrm>
            <a:off x="10528958" y="1128968"/>
            <a:ext cx="1082460" cy="1329956"/>
            <a:chOff x="7835905" y="279400"/>
            <a:chExt cx="811845" cy="997467"/>
          </a:xfrm>
        </p:grpSpPr>
        <p:sp>
          <p:nvSpPr>
            <p:cNvPr id="6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4" name="LegendLines" hidden="1"/>
          <p:cNvGrpSpPr/>
          <p:nvPr userDrawn="1"/>
        </p:nvGrpSpPr>
        <p:grpSpPr bwMode="gray">
          <a:xfrm>
            <a:off x="10118547" y="1128968"/>
            <a:ext cx="1493093" cy="974356"/>
            <a:chOff x="7540629" y="279400"/>
            <a:chExt cx="1119820" cy="730767"/>
          </a:xfrm>
        </p:grpSpPr>
        <p:sp>
          <p:nvSpPr>
            <p:cNvPr id="7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x-none" sz="1600" baseline="0">
                  <a:latin typeface="+mn-lt"/>
                  <a:ea typeface="+mn-ea"/>
                </a:rPr>
                <a:t>Legend</a:t>
              </a:r>
            </a:p>
          </p:txBody>
        </p:sp>
      </p:grpSp>
      <p:pic>
        <p:nvPicPr>
          <p:cNvPr id="105" name="Picture 104">
            <a:extLst>
              <a:ext uri="{FF2B5EF4-FFF2-40B4-BE49-F238E27FC236}">
                <a16:creationId xmlns:a16="http://schemas.microsoft.com/office/drawing/2014/main" id="{7385457F-6740-4AC4-B3F2-CB7B667942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26452" y="6123941"/>
            <a:ext cx="3492448" cy="703580"/>
          </a:xfrm>
          <a:prstGeom prst="rect">
            <a:avLst/>
          </a:prstGeom>
        </p:spPr>
      </p:pic>
      <p:sp>
        <p:nvSpPr>
          <p:cNvPr id="106" name="Oval" hidden="1">
            <a:extLst>
              <a:ext uri="{FF2B5EF4-FFF2-40B4-BE49-F238E27FC236}">
                <a16:creationId xmlns:a16="http://schemas.microsoft.com/office/drawing/2014/main" id="{E3CFFF1D-0349-43B6-BE0F-EFCE3DC8F765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315082" y="991228"/>
            <a:ext cx="1535305" cy="1535305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5080" tIns="0" rIns="508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7" name="Rectangle" hidden="1">
            <a:extLst>
              <a:ext uri="{FF2B5EF4-FFF2-40B4-BE49-F238E27FC236}">
                <a16:creationId xmlns:a16="http://schemas.microsoft.com/office/drawing/2014/main" id="{BC8A434E-2DF3-42DA-A795-1C92A37D3B41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315082" y="2654476"/>
            <a:ext cx="1535305" cy="153530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101600" rIns="101600" bIns="1016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8" name="RoundedRectangle" hidden="1">
            <a:extLst>
              <a:ext uri="{FF2B5EF4-FFF2-40B4-BE49-F238E27FC236}">
                <a16:creationId xmlns:a16="http://schemas.microsoft.com/office/drawing/2014/main" id="{DA1B90DE-CC58-4B2A-90B8-DCD12613703E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1315082" y="4317724"/>
            <a:ext cx="1535305" cy="1535305"/>
          </a:xfrm>
          <a:prstGeom prst="round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101600" rIns="101600" bIns="1016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9" name="Arrow" hidden="1">
            <a:extLst>
              <a:ext uri="{FF2B5EF4-FFF2-40B4-BE49-F238E27FC236}">
                <a16:creationId xmlns:a16="http://schemas.microsoft.com/office/drawing/2014/main" id="{B5DF9946-FD21-48EA-B6E8-7C5CA4133CCA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3285391" y="991227"/>
            <a:ext cx="1842367" cy="921184"/>
          </a:xfrm>
          <a:prstGeom prst="rightArrow">
            <a:avLst>
              <a:gd name="adj1" fmla="val 54000"/>
              <a:gd name="adj2" fmla="val 37676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16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Tx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Tx/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Tx/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Tx/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Tx/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2133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10" name="DirArrow" hidden="1">
            <a:extLst>
              <a:ext uri="{FF2B5EF4-FFF2-40B4-BE49-F238E27FC236}">
                <a16:creationId xmlns:a16="http://schemas.microsoft.com/office/drawing/2014/main" id="{1E62280B-28B6-438C-BD83-401DB78A52FA}"/>
              </a:ext>
            </a:extLst>
          </p:cNvPr>
          <p:cNvSpPr>
            <a:spLocks/>
          </p:cNvSpPr>
          <p:nvPr userDrawn="1">
            <p:custDataLst>
              <p:tags r:id="rId16"/>
            </p:custDataLst>
          </p:nvPr>
        </p:nvSpPr>
        <p:spPr>
          <a:xfrm rot="5400000">
            <a:off x="6170487" y="3805954"/>
            <a:ext cx="3108995" cy="3454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133" b="1" err="1">
              <a:solidFill>
                <a:schemeClr val="bg1"/>
              </a:solidFill>
            </a:endParaRPr>
          </a:p>
        </p:txBody>
      </p:sp>
      <p:grpSp>
        <p:nvGrpSpPr>
          <p:cNvPr id="4" name="Group 3" hidden="1">
            <a:extLst>
              <a:ext uri="{FF2B5EF4-FFF2-40B4-BE49-F238E27FC236}">
                <a16:creationId xmlns:a16="http://schemas.microsoft.com/office/drawing/2014/main" id="{AD85F77F-714D-44D8-B47C-C3E47E734F19}"/>
              </a:ext>
            </a:extLst>
          </p:cNvPr>
          <p:cNvGrpSpPr/>
          <p:nvPr userDrawn="1">
            <p:custDataLst>
              <p:tags r:id="rId17"/>
            </p:custDataLst>
          </p:nvPr>
        </p:nvGrpSpPr>
        <p:grpSpPr>
          <a:xfrm>
            <a:off x="3285391" y="3831543"/>
            <a:ext cx="1842367" cy="921184"/>
            <a:chOff x="2942111" y="3562821"/>
            <a:chExt cx="1828800" cy="914400"/>
          </a:xfrm>
        </p:grpSpPr>
        <p:sp>
          <p:nvSpPr>
            <p:cNvPr id="112" name="Freeform 217">
              <a:extLst>
                <a:ext uri="{FF2B5EF4-FFF2-40B4-BE49-F238E27FC236}">
                  <a16:creationId xmlns:a16="http://schemas.microsoft.com/office/drawing/2014/main" id="{387C1F73-4B7D-49E0-BD5E-AFE315404BBE}"/>
                </a:ext>
              </a:extLst>
            </p:cNvPr>
            <p:cNvSpPr/>
            <p:nvPr>
              <p:custDataLst>
                <p:tags r:id="rId58"/>
              </p:custDataLst>
            </p:nvPr>
          </p:nvSpPr>
          <p:spPr>
            <a:xfrm>
              <a:off x="2942111" y="3562821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164592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78C7F8EE-BDE4-4B37-AC31-9347D5E749C0}"/>
                </a:ext>
              </a:extLst>
            </p:cNvPr>
            <p:cNvSpPr txBox="1"/>
            <p:nvPr>
              <p:custDataLst>
                <p:tags r:id="rId59"/>
              </p:custDataLst>
            </p:nvPr>
          </p:nvSpPr>
          <p:spPr>
            <a:xfrm>
              <a:off x="3157503" y="3626321"/>
              <a:ext cx="1448816" cy="7874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5" name="Group 4" hidden="1">
            <a:extLst>
              <a:ext uri="{FF2B5EF4-FFF2-40B4-BE49-F238E27FC236}">
                <a16:creationId xmlns:a16="http://schemas.microsoft.com/office/drawing/2014/main" id="{CADA48FE-0092-4372-A2CB-838E4BB4C27D}"/>
              </a:ext>
            </a:extLst>
          </p:cNvPr>
          <p:cNvGrpSpPr/>
          <p:nvPr userDrawn="1">
            <p:custDataLst>
              <p:tags r:id="rId18"/>
            </p:custDataLst>
          </p:nvPr>
        </p:nvGrpSpPr>
        <p:grpSpPr>
          <a:xfrm>
            <a:off x="3285391" y="4880669"/>
            <a:ext cx="1842367" cy="921184"/>
            <a:chOff x="2942111" y="4604221"/>
            <a:chExt cx="1828800" cy="914400"/>
          </a:xfrm>
        </p:grpSpPr>
        <p:sp>
          <p:nvSpPr>
            <p:cNvPr id="115" name="Freeform 213">
              <a:extLst>
                <a:ext uri="{FF2B5EF4-FFF2-40B4-BE49-F238E27FC236}">
                  <a16:creationId xmlns:a16="http://schemas.microsoft.com/office/drawing/2014/main" id="{8074B620-3C9C-4737-BE9A-52C09722A18B}"/>
                </a:ext>
              </a:extLst>
            </p:cNvPr>
            <p:cNvSpPr/>
            <p:nvPr>
              <p:custDataLst>
                <p:tags r:id="rId54"/>
              </p:custDataLst>
            </p:nvPr>
          </p:nvSpPr>
          <p:spPr>
            <a:xfrm>
              <a:off x="2942111" y="4604221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164592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4592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5E2355CC-874A-4F6B-B564-38D38D72A752}"/>
                </a:ext>
              </a:extLst>
            </p:cNvPr>
            <p:cNvSpPr txBox="1"/>
            <p:nvPr>
              <p:custDataLst>
                <p:tags r:id="rId55"/>
              </p:custDataLst>
            </p:nvPr>
          </p:nvSpPr>
          <p:spPr>
            <a:xfrm>
              <a:off x="3144803" y="4661371"/>
              <a:ext cx="1461516" cy="3429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17" name="Freeform 215">
              <a:extLst>
                <a:ext uri="{FF2B5EF4-FFF2-40B4-BE49-F238E27FC236}">
                  <a16:creationId xmlns:a16="http://schemas.microsoft.com/office/drawing/2014/main" id="{EA2D3E5F-2A32-42AA-842C-43D72D1B55F4}"/>
                </a:ext>
              </a:extLst>
            </p:cNvPr>
            <p:cNvSpPr/>
            <p:nvPr>
              <p:custDataLst>
                <p:tags r:id="rId56"/>
              </p:custDataLst>
            </p:nvPr>
          </p:nvSpPr>
          <p:spPr>
            <a:xfrm>
              <a:off x="2942111" y="5061421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64592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E8264D6F-92C9-4325-8BFC-8E28A038E8FB}"/>
                </a:ext>
              </a:extLst>
            </p:cNvPr>
            <p:cNvSpPr txBox="1"/>
            <p:nvPr>
              <p:custDataLst>
                <p:tags r:id="rId57"/>
              </p:custDataLst>
            </p:nvPr>
          </p:nvSpPr>
          <p:spPr>
            <a:xfrm>
              <a:off x="3144803" y="5118571"/>
              <a:ext cx="1461516" cy="3429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Tx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GB" sz="2133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119" name="SingleChevron" hidden="1">
            <a:extLst>
              <a:ext uri="{FF2B5EF4-FFF2-40B4-BE49-F238E27FC236}">
                <a16:creationId xmlns:a16="http://schemas.microsoft.com/office/drawing/2014/main" id="{6D2DBCF5-00B7-4001-85EC-C429FAF406B9}"/>
              </a:ext>
            </a:extLst>
          </p:cNvPr>
          <p:cNvSpPr>
            <a:spLocks noChangeAspect="1"/>
          </p:cNvSpPr>
          <p:nvPr userDrawn="1">
            <p:custDataLst>
              <p:tags r:id="rId19"/>
            </p:custDataLst>
          </p:nvPr>
        </p:nvSpPr>
        <p:spPr>
          <a:xfrm>
            <a:off x="5690703" y="991228"/>
            <a:ext cx="671696" cy="1535305"/>
          </a:xfrm>
          <a:custGeom>
            <a:avLst/>
            <a:gdLst>
              <a:gd name="connsiteX0" fmla="*/ 0 w 17448211"/>
              <a:gd name="connsiteY0" fmla="*/ 0 h 7558068"/>
              <a:gd name="connsiteX1" fmla="*/ 15987710 w 17448211"/>
              <a:gd name="connsiteY1" fmla="*/ 2478067 h 7558068"/>
              <a:gd name="connsiteX2" fmla="*/ 17448210 w 17448211"/>
              <a:gd name="connsiteY2" fmla="*/ 5018067 h 7558068"/>
              <a:gd name="connsiteX3" fmla="*/ 15987710 w 17448211"/>
              <a:gd name="connsiteY3" fmla="*/ 7558067 h 7558068"/>
              <a:gd name="connsiteX4" fmla="*/ 15225710 w 17448211"/>
              <a:gd name="connsiteY4" fmla="*/ 7558067 h 7558068"/>
              <a:gd name="connsiteX5" fmla="*/ 16686210 w 17448211"/>
              <a:gd name="connsiteY5" fmla="*/ 5018067 h 7558068"/>
              <a:gd name="connsiteX0" fmla="*/ 0 w 17448211"/>
              <a:gd name="connsiteY0" fmla="*/ 0 h 8466668"/>
              <a:gd name="connsiteX1" fmla="*/ 4868339 w 17448211"/>
              <a:gd name="connsiteY1" fmla="*/ 8466668 h 8466668"/>
              <a:gd name="connsiteX2" fmla="*/ 17448210 w 17448211"/>
              <a:gd name="connsiteY2" fmla="*/ 5018067 h 8466668"/>
              <a:gd name="connsiteX3" fmla="*/ 15987710 w 17448211"/>
              <a:gd name="connsiteY3" fmla="*/ 7558067 h 8466668"/>
              <a:gd name="connsiteX4" fmla="*/ 15225710 w 17448211"/>
              <a:gd name="connsiteY4" fmla="*/ 7558067 h 8466668"/>
              <a:gd name="connsiteX5" fmla="*/ 16686210 w 17448211"/>
              <a:gd name="connsiteY5" fmla="*/ 5018067 h 8466668"/>
              <a:gd name="connsiteX0" fmla="*/ 0 w 16686211"/>
              <a:gd name="connsiteY0" fmla="*/ 0 h 16933336"/>
              <a:gd name="connsiteX1" fmla="*/ 4868339 w 16686211"/>
              <a:gd name="connsiteY1" fmla="*/ 8466668 h 16933336"/>
              <a:gd name="connsiteX2" fmla="*/ 3 w 16686211"/>
              <a:gd name="connsiteY2" fmla="*/ 16933336 h 16933336"/>
              <a:gd name="connsiteX3" fmla="*/ 15987710 w 16686211"/>
              <a:gd name="connsiteY3" fmla="*/ 7558067 h 16933336"/>
              <a:gd name="connsiteX4" fmla="*/ 15225710 w 16686211"/>
              <a:gd name="connsiteY4" fmla="*/ 7558067 h 16933336"/>
              <a:gd name="connsiteX5" fmla="*/ 16686210 w 16686211"/>
              <a:gd name="connsiteY5" fmla="*/ 5018067 h 16933336"/>
              <a:gd name="connsiteX0" fmla="*/ 2539998 w 19226209"/>
              <a:gd name="connsiteY0" fmla="*/ 0 h 16933336"/>
              <a:gd name="connsiteX1" fmla="*/ 7408337 w 19226209"/>
              <a:gd name="connsiteY1" fmla="*/ 8466668 h 16933336"/>
              <a:gd name="connsiteX2" fmla="*/ 2540001 w 19226209"/>
              <a:gd name="connsiteY2" fmla="*/ 16933336 h 16933336"/>
              <a:gd name="connsiteX3" fmla="*/ 0 w 19226209"/>
              <a:gd name="connsiteY3" fmla="*/ 16933336 h 16933336"/>
              <a:gd name="connsiteX4" fmla="*/ 17765708 w 19226209"/>
              <a:gd name="connsiteY4" fmla="*/ 7558067 h 16933336"/>
              <a:gd name="connsiteX5" fmla="*/ 19226208 w 19226209"/>
              <a:gd name="connsiteY5" fmla="*/ 5018067 h 16933336"/>
              <a:gd name="connsiteX0" fmla="*/ 2539998 w 19226209"/>
              <a:gd name="connsiteY0" fmla="*/ 0 h 16933336"/>
              <a:gd name="connsiteX1" fmla="*/ 7408337 w 19226209"/>
              <a:gd name="connsiteY1" fmla="*/ 8466668 h 16933336"/>
              <a:gd name="connsiteX2" fmla="*/ 2540001 w 19226209"/>
              <a:gd name="connsiteY2" fmla="*/ 16933336 h 16933336"/>
              <a:gd name="connsiteX3" fmla="*/ 0 w 19226209"/>
              <a:gd name="connsiteY3" fmla="*/ 16933336 h 16933336"/>
              <a:gd name="connsiteX4" fmla="*/ 4868336 w 19226209"/>
              <a:gd name="connsiteY4" fmla="*/ 8466668 h 16933336"/>
              <a:gd name="connsiteX5" fmla="*/ 19226208 w 19226209"/>
              <a:gd name="connsiteY5" fmla="*/ 5018067 h 16933336"/>
              <a:gd name="connsiteX0" fmla="*/ 2539998 w 7408337"/>
              <a:gd name="connsiteY0" fmla="*/ 0 h 16933336"/>
              <a:gd name="connsiteX1" fmla="*/ 7408337 w 7408337"/>
              <a:gd name="connsiteY1" fmla="*/ 8466668 h 16933336"/>
              <a:gd name="connsiteX2" fmla="*/ 2540001 w 7408337"/>
              <a:gd name="connsiteY2" fmla="*/ 16933336 h 16933336"/>
              <a:gd name="connsiteX3" fmla="*/ 0 w 7408337"/>
              <a:gd name="connsiteY3" fmla="*/ 16933336 h 16933336"/>
              <a:gd name="connsiteX4" fmla="*/ 4868336 w 7408337"/>
              <a:gd name="connsiteY4" fmla="*/ 8466668 h 16933336"/>
              <a:gd name="connsiteX5" fmla="*/ 0 w 7408337"/>
              <a:gd name="connsiteY5" fmla="*/ 0 h 16933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08337" h="16933336">
                <a:moveTo>
                  <a:pt x="2539998" y="0"/>
                </a:moveTo>
                <a:lnTo>
                  <a:pt x="7408337" y="8466668"/>
                </a:lnTo>
                <a:lnTo>
                  <a:pt x="2540001" y="16933336"/>
                </a:lnTo>
                <a:lnTo>
                  <a:pt x="0" y="16933336"/>
                </a:lnTo>
                <a:lnTo>
                  <a:pt x="4868336" y="846666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133" b="1" err="1">
              <a:solidFill>
                <a:schemeClr val="bg1"/>
              </a:solidFill>
            </a:endParaRPr>
          </a:p>
        </p:txBody>
      </p:sp>
      <p:grpSp>
        <p:nvGrpSpPr>
          <p:cNvPr id="7" name="Group 6" hidden="1">
            <a:extLst>
              <a:ext uri="{FF2B5EF4-FFF2-40B4-BE49-F238E27FC236}">
                <a16:creationId xmlns:a16="http://schemas.microsoft.com/office/drawing/2014/main" id="{1B99E148-256C-482A-84FB-3D27245D3699}"/>
              </a:ext>
            </a:extLst>
          </p:cNvPr>
          <p:cNvGrpSpPr>
            <a:grpSpLocks noChangeAspect="1"/>
          </p:cNvGrpSpPr>
          <p:nvPr userDrawn="1">
            <p:custDataLst>
              <p:tags r:id="rId20"/>
            </p:custDataLst>
          </p:nvPr>
        </p:nvGrpSpPr>
        <p:grpSpPr>
          <a:xfrm>
            <a:off x="5690703" y="2654476"/>
            <a:ext cx="1021853" cy="1535305"/>
            <a:chOff x="1270000" y="1270000"/>
            <a:chExt cx="2409031" cy="3619500"/>
          </a:xfrm>
        </p:grpSpPr>
        <p:sp>
          <p:nvSpPr>
            <p:cNvPr id="121" name="Chevron1">
              <a:extLst>
                <a:ext uri="{FF2B5EF4-FFF2-40B4-BE49-F238E27FC236}">
                  <a16:creationId xmlns:a16="http://schemas.microsoft.com/office/drawing/2014/main" id="{E1D4523D-F612-44ED-8B7A-C19DB316FC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1" cy="3619500"/>
            </a:xfrm>
            <a:custGeom>
              <a:avLst/>
              <a:gdLst>
                <a:gd name="connsiteX0" fmla="*/ 0 w 17448211"/>
                <a:gd name="connsiteY0" fmla="*/ 0 h 13061403"/>
                <a:gd name="connsiteX1" fmla="*/ 15987710 w 17448211"/>
                <a:gd name="connsiteY1" fmla="*/ 7981402 h 13061403"/>
                <a:gd name="connsiteX2" fmla="*/ 17448210 w 17448211"/>
                <a:gd name="connsiteY2" fmla="*/ 10521402 h 13061403"/>
                <a:gd name="connsiteX3" fmla="*/ 15987710 w 17448211"/>
                <a:gd name="connsiteY3" fmla="*/ 13061402 h 13061403"/>
                <a:gd name="connsiteX4" fmla="*/ 15225710 w 17448211"/>
                <a:gd name="connsiteY4" fmla="*/ 13061402 h 13061403"/>
                <a:gd name="connsiteX5" fmla="*/ 16686210 w 17448211"/>
                <a:gd name="connsiteY5" fmla="*/ 10521402 h 13061403"/>
                <a:gd name="connsiteX0" fmla="*/ 0 w 17448211"/>
                <a:gd name="connsiteY0" fmla="*/ 0 h 13061403"/>
                <a:gd name="connsiteX1" fmla="*/ 4868339 w 17448211"/>
                <a:gd name="connsiteY1" fmla="*/ 8466669 h 13061403"/>
                <a:gd name="connsiteX2" fmla="*/ 17448210 w 17448211"/>
                <a:gd name="connsiteY2" fmla="*/ 10521402 h 13061403"/>
                <a:gd name="connsiteX3" fmla="*/ 15987710 w 17448211"/>
                <a:gd name="connsiteY3" fmla="*/ 13061402 h 13061403"/>
                <a:gd name="connsiteX4" fmla="*/ 15225710 w 17448211"/>
                <a:gd name="connsiteY4" fmla="*/ 13061402 h 13061403"/>
                <a:gd name="connsiteX5" fmla="*/ 16686210 w 17448211"/>
                <a:gd name="connsiteY5" fmla="*/ 10521402 h 13061403"/>
                <a:gd name="connsiteX0" fmla="*/ 0 w 16686211"/>
                <a:gd name="connsiteY0" fmla="*/ 0 h 16933337"/>
                <a:gd name="connsiteX1" fmla="*/ 4868339 w 16686211"/>
                <a:gd name="connsiteY1" fmla="*/ 8466669 h 16933337"/>
                <a:gd name="connsiteX2" fmla="*/ 3 w 16686211"/>
                <a:gd name="connsiteY2" fmla="*/ 16933337 h 16933337"/>
                <a:gd name="connsiteX3" fmla="*/ 15987710 w 16686211"/>
                <a:gd name="connsiteY3" fmla="*/ 13061402 h 16933337"/>
                <a:gd name="connsiteX4" fmla="*/ 15225710 w 16686211"/>
                <a:gd name="connsiteY4" fmla="*/ 13061402 h 16933337"/>
                <a:gd name="connsiteX5" fmla="*/ 16686210 w 16686211"/>
                <a:gd name="connsiteY5" fmla="*/ 10521402 h 16933337"/>
                <a:gd name="connsiteX0" fmla="*/ 2539998 w 19226209"/>
                <a:gd name="connsiteY0" fmla="*/ 0 h 16933337"/>
                <a:gd name="connsiteX1" fmla="*/ 7408337 w 19226209"/>
                <a:gd name="connsiteY1" fmla="*/ 8466669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17765708 w 19226209"/>
                <a:gd name="connsiteY4" fmla="*/ 13061402 h 16933337"/>
                <a:gd name="connsiteX5" fmla="*/ 19226208 w 19226209"/>
                <a:gd name="connsiteY5" fmla="*/ 10521402 h 16933337"/>
                <a:gd name="connsiteX0" fmla="*/ 2539998 w 19226209"/>
                <a:gd name="connsiteY0" fmla="*/ 0 h 16933337"/>
                <a:gd name="connsiteX1" fmla="*/ 7408337 w 19226209"/>
                <a:gd name="connsiteY1" fmla="*/ 8466669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4868336 w 19226209"/>
                <a:gd name="connsiteY4" fmla="*/ 8466669 h 16933337"/>
                <a:gd name="connsiteX5" fmla="*/ 19226208 w 19226209"/>
                <a:gd name="connsiteY5" fmla="*/ 10521402 h 16933337"/>
                <a:gd name="connsiteX0" fmla="*/ 2539998 w 7408337"/>
                <a:gd name="connsiteY0" fmla="*/ 0 h 16933337"/>
                <a:gd name="connsiteX1" fmla="*/ 7408337 w 7408337"/>
                <a:gd name="connsiteY1" fmla="*/ 8466669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6 w 7408337"/>
                <a:gd name="connsiteY4" fmla="*/ 8466669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39998" y="0"/>
                  </a:moveTo>
                  <a:lnTo>
                    <a:pt x="7408337" y="8466669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6" y="84666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22" name="Chevron2">
              <a:extLst>
                <a:ext uri="{FF2B5EF4-FFF2-40B4-BE49-F238E27FC236}">
                  <a16:creationId xmlns:a16="http://schemas.microsoft.com/office/drawing/2014/main" id="{B57C7205-840C-43F7-88E3-F17F56A84F59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2095500" y="1270000"/>
              <a:ext cx="1583531" cy="3619500"/>
            </a:xfrm>
            <a:custGeom>
              <a:avLst/>
              <a:gdLst>
                <a:gd name="connsiteX0" fmla="*/ 0 w 18606808"/>
                <a:gd name="connsiteY0" fmla="*/ 0 h 13061403"/>
                <a:gd name="connsiteX1" fmla="*/ 17146307 w 18606808"/>
                <a:gd name="connsiteY1" fmla="*/ 7981402 h 13061403"/>
                <a:gd name="connsiteX2" fmla="*/ 18606807 w 18606808"/>
                <a:gd name="connsiteY2" fmla="*/ 10521402 h 13061403"/>
                <a:gd name="connsiteX3" fmla="*/ 17146307 w 18606808"/>
                <a:gd name="connsiteY3" fmla="*/ 13061402 h 13061403"/>
                <a:gd name="connsiteX4" fmla="*/ 16384307 w 18606808"/>
                <a:gd name="connsiteY4" fmla="*/ 13061402 h 13061403"/>
                <a:gd name="connsiteX5" fmla="*/ 17844807 w 18606808"/>
                <a:gd name="connsiteY5" fmla="*/ 10521402 h 13061403"/>
                <a:gd name="connsiteX0" fmla="*/ 0 w 18606808"/>
                <a:gd name="connsiteY0" fmla="*/ 0 h 13061403"/>
                <a:gd name="connsiteX1" fmla="*/ 4868335 w 18606808"/>
                <a:gd name="connsiteY1" fmla="*/ 8466669 h 13061403"/>
                <a:gd name="connsiteX2" fmla="*/ 18606807 w 18606808"/>
                <a:gd name="connsiteY2" fmla="*/ 10521402 h 13061403"/>
                <a:gd name="connsiteX3" fmla="*/ 17146307 w 18606808"/>
                <a:gd name="connsiteY3" fmla="*/ 13061402 h 13061403"/>
                <a:gd name="connsiteX4" fmla="*/ 16384307 w 18606808"/>
                <a:gd name="connsiteY4" fmla="*/ 13061402 h 13061403"/>
                <a:gd name="connsiteX5" fmla="*/ 17844807 w 18606808"/>
                <a:gd name="connsiteY5" fmla="*/ 10521402 h 13061403"/>
                <a:gd name="connsiteX0" fmla="*/ 0 w 17844808"/>
                <a:gd name="connsiteY0" fmla="*/ 0 h 16933337"/>
                <a:gd name="connsiteX1" fmla="*/ 4868335 w 17844808"/>
                <a:gd name="connsiteY1" fmla="*/ 8466669 h 16933337"/>
                <a:gd name="connsiteX2" fmla="*/ 0 w 17844808"/>
                <a:gd name="connsiteY2" fmla="*/ 16933337 h 16933337"/>
                <a:gd name="connsiteX3" fmla="*/ 17146307 w 17844808"/>
                <a:gd name="connsiteY3" fmla="*/ 13061402 h 16933337"/>
                <a:gd name="connsiteX4" fmla="*/ 16384307 w 17844808"/>
                <a:gd name="connsiteY4" fmla="*/ 13061402 h 16933337"/>
                <a:gd name="connsiteX5" fmla="*/ 17844807 w 17844808"/>
                <a:gd name="connsiteY5" fmla="*/ 10521402 h 16933337"/>
                <a:gd name="connsiteX0" fmla="*/ 2540001 w 20384809"/>
                <a:gd name="connsiteY0" fmla="*/ 0 h 16933337"/>
                <a:gd name="connsiteX1" fmla="*/ 7408336 w 20384809"/>
                <a:gd name="connsiteY1" fmla="*/ 8466669 h 16933337"/>
                <a:gd name="connsiteX2" fmla="*/ 2540001 w 20384809"/>
                <a:gd name="connsiteY2" fmla="*/ 16933337 h 16933337"/>
                <a:gd name="connsiteX3" fmla="*/ 0 w 20384809"/>
                <a:gd name="connsiteY3" fmla="*/ 16933337 h 16933337"/>
                <a:gd name="connsiteX4" fmla="*/ 18924308 w 20384809"/>
                <a:gd name="connsiteY4" fmla="*/ 13061402 h 16933337"/>
                <a:gd name="connsiteX5" fmla="*/ 20384808 w 20384809"/>
                <a:gd name="connsiteY5" fmla="*/ 10521402 h 16933337"/>
                <a:gd name="connsiteX0" fmla="*/ 2540001 w 20384809"/>
                <a:gd name="connsiteY0" fmla="*/ 0 h 16933337"/>
                <a:gd name="connsiteX1" fmla="*/ 7408336 w 20384809"/>
                <a:gd name="connsiteY1" fmla="*/ 8466669 h 16933337"/>
                <a:gd name="connsiteX2" fmla="*/ 2540001 w 20384809"/>
                <a:gd name="connsiteY2" fmla="*/ 16933337 h 16933337"/>
                <a:gd name="connsiteX3" fmla="*/ 0 w 20384809"/>
                <a:gd name="connsiteY3" fmla="*/ 16933337 h 16933337"/>
                <a:gd name="connsiteX4" fmla="*/ 4868335 w 20384809"/>
                <a:gd name="connsiteY4" fmla="*/ 8466669 h 16933337"/>
                <a:gd name="connsiteX5" fmla="*/ 20384808 w 20384809"/>
                <a:gd name="connsiteY5" fmla="*/ 10521402 h 16933337"/>
                <a:gd name="connsiteX0" fmla="*/ 2540001 w 7408337"/>
                <a:gd name="connsiteY0" fmla="*/ 0 h 16933337"/>
                <a:gd name="connsiteX1" fmla="*/ 7408336 w 7408337"/>
                <a:gd name="connsiteY1" fmla="*/ 8466669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5 w 7408337"/>
                <a:gd name="connsiteY4" fmla="*/ 8466669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40001" y="0"/>
                  </a:moveTo>
                  <a:lnTo>
                    <a:pt x="7408336" y="8466669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5" y="84666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 hidden="1">
            <a:extLst>
              <a:ext uri="{FF2B5EF4-FFF2-40B4-BE49-F238E27FC236}">
                <a16:creationId xmlns:a16="http://schemas.microsoft.com/office/drawing/2014/main" id="{244B434B-3011-45E4-9D69-12DC2FB958EB}"/>
              </a:ext>
            </a:extLst>
          </p:cNvPr>
          <p:cNvGrpSpPr>
            <a:grpSpLocks noChangeAspect="1"/>
          </p:cNvGrpSpPr>
          <p:nvPr userDrawn="1">
            <p:custDataLst>
              <p:tags r:id="rId21"/>
            </p:custDataLst>
          </p:nvPr>
        </p:nvGrpSpPr>
        <p:grpSpPr>
          <a:xfrm>
            <a:off x="5690704" y="4317724"/>
            <a:ext cx="1252149" cy="1535305"/>
            <a:chOff x="1270000" y="1270000"/>
            <a:chExt cx="2951956" cy="3619500"/>
          </a:xfrm>
        </p:grpSpPr>
        <p:sp>
          <p:nvSpPr>
            <p:cNvPr id="124" name="Chevron1">
              <a:extLst>
                <a:ext uri="{FF2B5EF4-FFF2-40B4-BE49-F238E27FC236}">
                  <a16:creationId xmlns:a16="http://schemas.microsoft.com/office/drawing/2014/main" id="{0E858388-098D-4D50-895F-E0A4F53D2D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1" cy="3619500"/>
            </a:xfrm>
            <a:custGeom>
              <a:avLst/>
              <a:gdLst>
                <a:gd name="connsiteX0" fmla="*/ 0 w 17448211"/>
                <a:gd name="connsiteY0" fmla="*/ 0 h 18564737"/>
                <a:gd name="connsiteX1" fmla="*/ 15987710 w 17448211"/>
                <a:gd name="connsiteY1" fmla="*/ 13484736 h 18564737"/>
                <a:gd name="connsiteX2" fmla="*/ 17448210 w 17448211"/>
                <a:gd name="connsiteY2" fmla="*/ 16024736 h 18564737"/>
                <a:gd name="connsiteX3" fmla="*/ 15987710 w 17448211"/>
                <a:gd name="connsiteY3" fmla="*/ 18564736 h 18564737"/>
                <a:gd name="connsiteX4" fmla="*/ 15225710 w 17448211"/>
                <a:gd name="connsiteY4" fmla="*/ 18564736 h 18564737"/>
                <a:gd name="connsiteX5" fmla="*/ 16686210 w 17448211"/>
                <a:gd name="connsiteY5" fmla="*/ 16024736 h 18564737"/>
                <a:gd name="connsiteX0" fmla="*/ 0 w 17448211"/>
                <a:gd name="connsiteY0" fmla="*/ 0 h 18564737"/>
                <a:gd name="connsiteX1" fmla="*/ 4868339 w 17448211"/>
                <a:gd name="connsiteY1" fmla="*/ 8466668 h 18564737"/>
                <a:gd name="connsiteX2" fmla="*/ 17448210 w 17448211"/>
                <a:gd name="connsiteY2" fmla="*/ 16024736 h 18564737"/>
                <a:gd name="connsiteX3" fmla="*/ 15987710 w 17448211"/>
                <a:gd name="connsiteY3" fmla="*/ 18564736 h 18564737"/>
                <a:gd name="connsiteX4" fmla="*/ 15225710 w 17448211"/>
                <a:gd name="connsiteY4" fmla="*/ 18564736 h 18564737"/>
                <a:gd name="connsiteX5" fmla="*/ 16686210 w 17448211"/>
                <a:gd name="connsiteY5" fmla="*/ 16024736 h 18564737"/>
                <a:gd name="connsiteX0" fmla="*/ 0 w 16686211"/>
                <a:gd name="connsiteY0" fmla="*/ 0 h 18564737"/>
                <a:gd name="connsiteX1" fmla="*/ 4868339 w 16686211"/>
                <a:gd name="connsiteY1" fmla="*/ 8466668 h 18564737"/>
                <a:gd name="connsiteX2" fmla="*/ 3 w 16686211"/>
                <a:gd name="connsiteY2" fmla="*/ 16933337 h 18564737"/>
                <a:gd name="connsiteX3" fmla="*/ 15987710 w 16686211"/>
                <a:gd name="connsiteY3" fmla="*/ 18564736 h 18564737"/>
                <a:gd name="connsiteX4" fmla="*/ 15225710 w 16686211"/>
                <a:gd name="connsiteY4" fmla="*/ 18564736 h 18564737"/>
                <a:gd name="connsiteX5" fmla="*/ 16686210 w 16686211"/>
                <a:gd name="connsiteY5" fmla="*/ 16024736 h 18564737"/>
                <a:gd name="connsiteX0" fmla="*/ 2539998 w 19226209"/>
                <a:gd name="connsiteY0" fmla="*/ 0 h 18564737"/>
                <a:gd name="connsiteX1" fmla="*/ 7408337 w 19226209"/>
                <a:gd name="connsiteY1" fmla="*/ 8466668 h 18564737"/>
                <a:gd name="connsiteX2" fmla="*/ 2540001 w 19226209"/>
                <a:gd name="connsiteY2" fmla="*/ 16933337 h 18564737"/>
                <a:gd name="connsiteX3" fmla="*/ 0 w 19226209"/>
                <a:gd name="connsiteY3" fmla="*/ 16933337 h 18564737"/>
                <a:gd name="connsiteX4" fmla="*/ 17765708 w 19226209"/>
                <a:gd name="connsiteY4" fmla="*/ 18564736 h 18564737"/>
                <a:gd name="connsiteX5" fmla="*/ 19226208 w 19226209"/>
                <a:gd name="connsiteY5" fmla="*/ 16024736 h 18564737"/>
                <a:gd name="connsiteX0" fmla="*/ 2539998 w 19226209"/>
                <a:gd name="connsiteY0" fmla="*/ 0 h 16933337"/>
                <a:gd name="connsiteX1" fmla="*/ 7408337 w 19226209"/>
                <a:gd name="connsiteY1" fmla="*/ 8466668 h 16933337"/>
                <a:gd name="connsiteX2" fmla="*/ 2540001 w 19226209"/>
                <a:gd name="connsiteY2" fmla="*/ 16933337 h 16933337"/>
                <a:gd name="connsiteX3" fmla="*/ 0 w 19226209"/>
                <a:gd name="connsiteY3" fmla="*/ 16933337 h 16933337"/>
                <a:gd name="connsiteX4" fmla="*/ 4868336 w 19226209"/>
                <a:gd name="connsiteY4" fmla="*/ 8466668 h 16933337"/>
                <a:gd name="connsiteX5" fmla="*/ 19226208 w 19226209"/>
                <a:gd name="connsiteY5" fmla="*/ 16024736 h 16933337"/>
                <a:gd name="connsiteX0" fmla="*/ 2539998 w 7408337"/>
                <a:gd name="connsiteY0" fmla="*/ 0 h 16933337"/>
                <a:gd name="connsiteX1" fmla="*/ 7408337 w 7408337"/>
                <a:gd name="connsiteY1" fmla="*/ 8466668 h 16933337"/>
                <a:gd name="connsiteX2" fmla="*/ 2540001 w 7408337"/>
                <a:gd name="connsiteY2" fmla="*/ 16933337 h 16933337"/>
                <a:gd name="connsiteX3" fmla="*/ 0 w 7408337"/>
                <a:gd name="connsiteY3" fmla="*/ 16933337 h 16933337"/>
                <a:gd name="connsiteX4" fmla="*/ 4868336 w 7408337"/>
                <a:gd name="connsiteY4" fmla="*/ 8466668 h 16933337"/>
                <a:gd name="connsiteX5" fmla="*/ 0 w 740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08337" h="16933337">
                  <a:moveTo>
                    <a:pt x="2539998" y="0"/>
                  </a:moveTo>
                  <a:lnTo>
                    <a:pt x="7408337" y="8466668"/>
                  </a:lnTo>
                  <a:lnTo>
                    <a:pt x="2540001" y="16933337"/>
                  </a:lnTo>
                  <a:lnTo>
                    <a:pt x="0" y="16933337"/>
                  </a:lnTo>
                  <a:lnTo>
                    <a:pt x="4868336" y="84666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  <p:sp>
          <p:nvSpPr>
            <p:cNvPr id="125" name="Chevron2">
              <a:extLst>
                <a:ext uri="{FF2B5EF4-FFF2-40B4-BE49-F238E27FC236}">
                  <a16:creationId xmlns:a16="http://schemas.microsoft.com/office/drawing/2014/main" id="{84926589-627E-4BDE-BDA5-9E4EB2915815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2095500" y="1270000"/>
              <a:ext cx="2126456" cy="3619500"/>
            </a:xfrm>
            <a:custGeom>
              <a:avLst/>
              <a:gdLst>
                <a:gd name="connsiteX0" fmla="*/ 0 w 16828806"/>
                <a:gd name="connsiteY0" fmla="*/ 0 h 18564737"/>
                <a:gd name="connsiteX1" fmla="*/ 15368305 w 16828806"/>
                <a:gd name="connsiteY1" fmla="*/ 13484736 h 18564737"/>
                <a:gd name="connsiteX2" fmla="*/ 16828805 w 16828806"/>
                <a:gd name="connsiteY2" fmla="*/ 16024736 h 18564737"/>
                <a:gd name="connsiteX3" fmla="*/ 15368305 w 16828806"/>
                <a:gd name="connsiteY3" fmla="*/ 18564736 h 18564737"/>
                <a:gd name="connsiteX4" fmla="*/ 13844305 w 16828806"/>
                <a:gd name="connsiteY4" fmla="*/ 18564736 h 18564737"/>
                <a:gd name="connsiteX5" fmla="*/ 15304805 w 16828806"/>
                <a:gd name="connsiteY5" fmla="*/ 16024736 h 18564737"/>
                <a:gd name="connsiteX0" fmla="*/ 0 w 16828806"/>
                <a:gd name="connsiteY0" fmla="*/ 0 h 18564737"/>
                <a:gd name="connsiteX1" fmla="*/ 4868335 w 16828806"/>
                <a:gd name="connsiteY1" fmla="*/ 8466668 h 18564737"/>
                <a:gd name="connsiteX2" fmla="*/ 16828805 w 16828806"/>
                <a:gd name="connsiteY2" fmla="*/ 16024736 h 18564737"/>
                <a:gd name="connsiteX3" fmla="*/ 15368305 w 16828806"/>
                <a:gd name="connsiteY3" fmla="*/ 18564736 h 18564737"/>
                <a:gd name="connsiteX4" fmla="*/ 13844305 w 16828806"/>
                <a:gd name="connsiteY4" fmla="*/ 18564736 h 18564737"/>
                <a:gd name="connsiteX5" fmla="*/ 15304805 w 16828806"/>
                <a:gd name="connsiteY5" fmla="*/ 16024736 h 18564737"/>
                <a:gd name="connsiteX0" fmla="*/ 0 w 15368305"/>
                <a:gd name="connsiteY0" fmla="*/ 0 h 18564737"/>
                <a:gd name="connsiteX1" fmla="*/ 4868335 w 15368305"/>
                <a:gd name="connsiteY1" fmla="*/ 8466668 h 18564737"/>
                <a:gd name="connsiteX2" fmla="*/ 0 w 15368305"/>
                <a:gd name="connsiteY2" fmla="*/ 16933337 h 18564737"/>
                <a:gd name="connsiteX3" fmla="*/ 15368305 w 15368305"/>
                <a:gd name="connsiteY3" fmla="*/ 18564736 h 18564737"/>
                <a:gd name="connsiteX4" fmla="*/ 13844305 w 15368305"/>
                <a:gd name="connsiteY4" fmla="*/ 18564736 h 18564737"/>
                <a:gd name="connsiteX5" fmla="*/ 15304805 w 15368305"/>
                <a:gd name="connsiteY5" fmla="*/ 16024736 h 18564737"/>
                <a:gd name="connsiteX0" fmla="*/ 5080002 w 20384807"/>
                <a:gd name="connsiteY0" fmla="*/ 0 h 18564737"/>
                <a:gd name="connsiteX1" fmla="*/ 9948337 w 20384807"/>
                <a:gd name="connsiteY1" fmla="*/ 8466668 h 18564737"/>
                <a:gd name="connsiteX2" fmla="*/ 5080002 w 20384807"/>
                <a:gd name="connsiteY2" fmla="*/ 16933337 h 18564737"/>
                <a:gd name="connsiteX3" fmla="*/ 0 w 20384807"/>
                <a:gd name="connsiteY3" fmla="*/ 16933337 h 18564737"/>
                <a:gd name="connsiteX4" fmla="*/ 18924307 w 20384807"/>
                <a:gd name="connsiteY4" fmla="*/ 18564736 h 18564737"/>
                <a:gd name="connsiteX5" fmla="*/ 20384807 w 20384807"/>
                <a:gd name="connsiteY5" fmla="*/ 16024736 h 18564737"/>
                <a:gd name="connsiteX0" fmla="*/ 5080002 w 20384807"/>
                <a:gd name="connsiteY0" fmla="*/ 0 h 16933337"/>
                <a:gd name="connsiteX1" fmla="*/ 9948337 w 20384807"/>
                <a:gd name="connsiteY1" fmla="*/ 8466668 h 16933337"/>
                <a:gd name="connsiteX2" fmla="*/ 5080002 w 20384807"/>
                <a:gd name="connsiteY2" fmla="*/ 16933337 h 16933337"/>
                <a:gd name="connsiteX3" fmla="*/ 0 w 20384807"/>
                <a:gd name="connsiteY3" fmla="*/ 16933337 h 16933337"/>
                <a:gd name="connsiteX4" fmla="*/ 4868335 w 20384807"/>
                <a:gd name="connsiteY4" fmla="*/ 8466668 h 16933337"/>
                <a:gd name="connsiteX5" fmla="*/ 20384807 w 20384807"/>
                <a:gd name="connsiteY5" fmla="*/ 16024736 h 16933337"/>
                <a:gd name="connsiteX0" fmla="*/ 5080002 w 9948337"/>
                <a:gd name="connsiteY0" fmla="*/ 0 h 16933337"/>
                <a:gd name="connsiteX1" fmla="*/ 9948337 w 9948337"/>
                <a:gd name="connsiteY1" fmla="*/ 8466668 h 16933337"/>
                <a:gd name="connsiteX2" fmla="*/ 5080002 w 9948337"/>
                <a:gd name="connsiteY2" fmla="*/ 16933337 h 16933337"/>
                <a:gd name="connsiteX3" fmla="*/ 0 w 9948337"/>
                <a:gd name="connsiteY3" fmla="*/ 16933337 h 16933337"/>
                <a:gd name="connsiteX4" fmla="*/ 4868335 w 9948337"/>
                <a:gd name="connsiteY4" fmla="*/ 8466668 h 16933337"/>
                <a:gd name="connsiteX5" fmla="*/ 0 w 9948337"/>
                <a:gd name="connsiteY5" fmla="*/ 0 h 169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48337" h="16933337">
                  <a:moveTo>
                    <a:pt x="5080002" y="0"/>
                  </a:moveTo>
                  <a:lnTo>
                    <a:pt x="9948337" y="8466668"/>
                  </a:lnTo>
                  <a:lnTo>
                    <a:pt x="5080002" y="16933337"/>
                  </a:lnTo>
                  <a:lnTo>
                    <a:pt x="0" y="16933337"/>
                  </a:lnTo>
                  <a:lnTo>
                    <a:pt x="4868335" y="84666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133" b="1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26" name="EmptyMoon" hidden="1">
            <a:extLst>
              <a:ext uri="{FF2B5EF4-FFF2-40B4-BE49-F238E27FC236}">
                <a16:creationId xmlns:a16="http://schemas.microsoft.com/office/drawing/2014/main" id="{B026AE3E-37C8-405D-A04D-09F02FB5404A}"/>
              </a:ext>
            </a:extLst>
          </p:cNvPr>
          <p:cNvGrpSpPr>
            <a:grpSpLocks noChangeAspect="1"/>
          </p:cNvGrpSpPr>
          <p:nvPr userDrawn="1">
            <p:custDataLst>
              <p:tags r:id="rId22"/>
            </p:custDataLst>
          </p:nvPr>
        </p:nvGrpSpPr>
        <p:grpSpPr>
          <a:xfrm>
            <a:off x="9238039" y="1998768"/>
            <a:ext cx="338667" cy="338667"/>
            <a:chOff x="762000" y="1270000"/>
            <a:chExt cx="254000" cy="254000"/>
          </a:xfrm>
          <a:solidFill>
            <a:schemeClr val="bg1"/>
          </a:solidFill>
        </p:grpSpPr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5DB74236-1E4A-47D3-8B06-FE4131A6F1D7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28" name="Arc 127">
              <a:extLst>
                <a:ext uri="{FF2B5EF4-FFF2-40B4-BE49-F238E27FC236}">
                  <a16:creationId xmlns:a16="http://schemas.microsoft.com/office/drawing/2014/main" id="{0F32937C-EE1E-48A4-AB55-C8D2E48782B5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29" name="QuaterMoon" hidden="1">
            <a:extLst>
              <a:ext uri="{FF2B5EF4-FFF2-40B4-BE49-F238E27FC236}">
                <a16:creationId xmlns:a16="http://schemas.microsoft.com/office/drawing/2014/main" id="{127AC0DF-7C81-40CC-B782-75399532A42A}"/>
              </a:ext>
            </a:extLst>
          </p:cNvPr>
          <p:cNvGrpSpPr>
            <a:grpSpLocks noChangeAspect="1"/>
          </p:cNvGrpSpPr>
          <p:nvPr userDrawn="1">
            <p:custDataLst>
              <p:tags r:id="rId23"/>
            </p:custDataLst>
          </p:nvPr>
        </p:nvGrpSpPr>
        <p:grpSpPr>
          <a:xfrm>
            <a:off x="9238039" y="2676101"/>
            <a:ext cx="338667" cy="338667"/>
            <a:chOff x="762000" y="1270000"/>
            <a:chExt cx="254000" cy="254000"/>
          </a:xfrm>
        </p:grpSpPr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2F521C81-C266-4DB0-BE64-1EAA72939F5E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31" name="Arc 130">
              <a:extLst>
                <a:ext uri="{FF2B5EF4-FFF2-40B4-BE49-F238E27FC236}">
                  <a16:creationId xmlns:a16="http://schemas.microsoft.com/office/drawing/2014/main" id="{20B63D47-3551-443A-A78D-63E5104F056F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32" name="HalfMoon" hidden="1">
            <a:extLst>
              <a:ext uri="{FF2B5EF4-FFF2-40B4-BE49-F238E27FC236}">
                <a16:creationId xmlns:a16="http://schemas.microsoft.com/office/drawing/2014/main" id="{8B23EAA4-94BA-43B1-8E1F-5ABB3CCE20CE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9238039" y="3353435"/>
            <a:ext cx="338667" cy="338667"/>
            <a:chOff x="762000" y="1270000"/>
            <a:chExt cx="254000" cy="254000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ACB251DF-6D7B-44E6-B5E6-01C64D37D48C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34" name="Arc 133">
              <a:extLst>
                <a:ext uri="{FF2B5EF4-FFF2-40B4-BE49-F238E27FC236}">
                  <a16:creationId xmlns:a16="http://schemas.microsoft.com/office/drawing/2014/main" id="{966C4B4C-FB48-40CA-8A75-611BDE29A3EF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35" name="3QuaterMoon" hidden="1">
            <a:extLst>
              <a:ext uri="{FF2B5EF4-FFF2-40B4-BE49-F238E27FC236}">
                <a16:creationId xmlns:a16="http://schemas.microsoft.com/office/drawing/2014/main" id="{D5497B87-6FD6-4164-A3EA-2F91B7ADA1EA}"/>
              </a:ext>
            </a:extLst>
          </p:cNvPr>
          <p:cNvGrpSpPr>
            <a:grpSpLocks noChangeAspect="1"/>
          </p:cNvGrpSpPr>
          <p:nvPr userDrawn="1">
            <p:custDataLst>
              <p:tags r:id="rId25"/>
            </p:custDataLst>
          </p:nvPr>
        </p:nvGrpSpPr>
        <p:grpSpPr>
          <a:xfrm>
            <a:off x="9238039" y="4030768"/>
            <a:ext cx="338667" cy="338667"/>
            <a:chOff x="762000" y="1270000"/>
            <a:chExt cx="254000" cy="254000"/>
          </a:xfrm>
        </p:grpSpPr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59580CFD-3614-4378-9AEC-AC8AC501945C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37" name="Arc 136">
              <a:extLst>
                <a:ext uri="{FF2B5EF4-FFF2-40B4-BE49-F238E27FC236}">
                  <a16:creationId xmlns:a16="http://schemas.microsoft.com/office/drawing/2014/main" id="{8BC4B6C0-CF36-4028-AAB2-9E775C94E173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38" name="FullMoon" hidden="1">
            <a:extLst>
              <a:ext uri="{FF2B5EF4-FFF2-40B4-BE49-F238E27FC236}">
                <a16:creationId xmlns:a16="http://schemas.microsoft.com/office/drawing/2014/main" id="{E17CBF53-B130-4EA2-9843-5223F1B36B5F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9238039" y="4708101"/>
            <a:ext cx="338667" cy="338667"/>
            <a:chOff x="762000" y="1270000"/>
            <a:chExt cx="254000" cy="254000"/>
          </a:xfrm>
          <a:solidFill>
            <a:schemeClr val="accent1"/>
          </a:solidFill>
        </p:grpSpPr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7C67032C-A42B-481B-8C08-932498D0DE20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err="1">
                <a:solidFill>
                  <a:schemeClr val="tx1"/>
                </a:solidFill>
              </a:endParaRPr>
            </a:p>
          </p:txBody>
        </p:sp>
        <p:sp>
          <p:nvSpPr>
            <p:cNvPr id="140" name="Arc 139">
              <a:extLst>
                <a:ext uri="{FF2B5EF4-FFF2-40B4-BE49-F238E27FC236}">
                  <a16:creationId xmlns:a16="http://schemas.microsoft.com/office/drawing/2014/main" id="{85B2C722-B017-418D-8DF3-3B11095FA026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141" name="LegendMoons" hidden="1">
            <a:extLst>
              <a:ext uri="{FF2B5EF4-FFF2-40B4-BE49-F238E27FC236}">
                <a16:creationId xmlns:a16="http://schemas.microsoft.com/office/drawing/2014/main" id="{2701DF0F-0441-43EF-A918-510ECABD5839}"/>
              </a:ext>
            </a:extLst>
          </p:cNvPr>
          <p:cNvGrpSpPr/>
          <p:nvPr userDrawn="1"/>
        </p:nvGrpSpPr>
        <p:grpSpPr bwMode="auto">
          <a:xfrm>
            <a:off x="10430073" y="1079972"/>
            <a:ext cx="1171360" cy="1742021"/>
            <a:chOff x="6655594" y="273840"/>
            <a:chExt cx="878520" cy="1306516"/>
          </a:xfrm>
        </p:grpSpPr>
        <p:grpSp>
          <p:nvGrpSpPr>
            <p:cNvPr id="142" name="MoonLegend1">
              <a:extLst>
                <a:ext uri="{FF2B5EF4-FFF2-40B4-BE49-F238E27FC236}">
                  <a16:creationId xmlns:a16="http://schemas.microsoft.com/office/drawing/2014/main" id="{E7817C02-608B-4D3E-9B97-58ACD5131065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60" name="Oval 38">
                <a:extLst>
                  <a:ext uri="{FF2B5EF4-FFF2-40B4-BE49-F238E27FC236}">
                    <a16:creationId xmlns:a16="http://schemas.microsoft.com/office/drawing/2014/main" id="{F2559550-D6B7-4F80-8C13-C2E9E31F16A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61" name="Arc 39">
                <a:extLst>
                  <a:ext uri="{FF2B5EF4-FFF2-40B4-BE49-F238E27FC236}">
                    <a16:creationId xmlns:a16="http://schemas.microsoft.com/office/drawing/2014/main" id="{1268662D-0014-4C56-A4D6-B25F52590ABC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143" name="MoonLegend2">
              <a:extLst>
                <a:ext uri="{FF2B5EF4-FFF2-40B4-BE49-F238E27FC236}">
                  <a16:creationId xmlns:a16="http://schemas.microsoft.com/office/drawing/2014/main" id="{E8FD5AA1-E724-4D21-B4C8-FEB3492C413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58" name="Oval 41">
                <a:extLst>
                  <a:ext uri="{FF2B5EF4-FFF2-40B4-BE49-F238E27FC236}">
                    <a16:creationId xmlns:a16="http://schemas.microsoft.com/office/drawing/2014/main" id="{F74C975A-DC07-40C6-A86B-81F1CC4CF81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9" name="Arc 42">
                <a:extLst>
                  <a:ext uri="{FF2B5EF4-FFF2-40B4-BE49-F238E27FC236}">
                    <a16:creationId xmlns:a16="http://schemas.microsoft.com/office/drawing/2014/main" id="{3A4BC6DC-60A8-47ED-A2A7-B87B71C79F70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144" name="MoonLegend4">
              <a:extLst>
                <a:ext uri="{FF2B5EF4-FFF2-40B4-BE49-F238E27FC236}">
                  <a16:creationId xmlns:a16="http://schemas.microsoft.com/office/drawing/2014/main" id="{1E4F16E6-8DCA-4B3C-AA9B-D48E0B6D624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56" name="Oval 47">
                <a:extLst>
                  <a:ext uri="{FF2B5EF4-FFF2-40B4-BE49-F238E27FC236}">
                    <a16:creationId xmlns:a16="http://schemas.microsoft.com/office/drawing/2014/main" id="{898C5F0A-478E-470C-982F-2E26D747A3E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7" name="Arc 48">
                <a:extLst>
                  <a:ext uri="{FF2B5EF4-FFF2-40B4-BE49-F238E27FC236}">
                    <a16:creationId xmlns:a16="http://schemas.microsoft.com/office/drawing/2014/main" id="{7C443F42-6F9B-482C-841F-62BA4655B851}"/>
                  </a:ext>
                </a:extLst>
              </p:cNvPr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grpSp>
          <p:nvGrpSpPr>
            <p:cNvPr id="145" name="MoonLegend5">
              <a:extLst>
                <a:ext uri="{FF2B5EF4-FFF2-40B4-BE49-F238E27FC236}">
                  <a16:creationId xmlns:a16="http://schemas.microsoft.com/office/drawing/2014/main" id="{8558EC37-F79C-4776-89A8-1D03FC887C68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54" name="Oval 50">
                <a:extLst>
                  <a:ext uri="{FF2B5EF4-FFF2-40B4-BE49-F238E27FC236}">
                    <a16:creationId xmlns:a16="http://schemas.microsoft.com/office/drawing/2014/main" id="{A2F6E53D-5350-44E3-8AA3-52097A5A8D8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5" name="Oval 51">
                <a:extLst>
                  <a:ext uri="{FF2B5EF4-FFF2-40B4-BE49-F238E27FC236}">
                    <a16:creationId xmlns:a16="http://schemas.microsoft.com/office/drawing/2014/main" id="{92BFE9E3-1B7F-4895-A7F8-1627B98BF2C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  <p:sp>
          <p:nvSpPr>
            <p:cNvPr id="146" name="Legend1">
              <a:extLst>
                <a:ext uri="{FF2B5EF4-FFF2-40B4-BE49-F238E27FC236}">
                  <a16:creationId xmlns:a16="http://schemas.microsoft.com/office/drawing/2014/main" id="{3D90066E-51CA-4E5E-BCA4-7D66A87AF0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47" name="Legend2">
              <a:extLst>
                <a:ext uri="{FF2B5EF4-FFF2-40B4-BE49-F238E27FC236}">
                  <a16:creationId xmlns:a16="http://schemas.microsoft.com/office/drawing/2014/main" id="{A582AE82-DCBA-4F99-B2A9-C39B060FD1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48" name="Legend3">
              <a:extLst>
                <a:ext uri="{FF2B5EF4-FFF2-40B4-BE49-F238E27FC236}">
                  <a16:creationId xmlns:a16="http://schemas.microsoft.com/office/drawing/2014/main" id="{89C26EF8-921C-4691-95F5-5B98009B18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49" name="Legend4">
              <a:extLst>
                <a:ext uri="{FF2B5EF4-FFF2-40B4-BE49-F238E27FC236}">
                  <a16:creationId xmlns:a16="http://schemas.microsoft.com/office/drawing/2014/main" id="{8D9E11E7-B58F-4F18-9786-EAB4505848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sp>
          <p:nvSpPr>
            <p:cNvPr id="150" name="Legend5">
              <a:extLst>
                <a:ext uri="{FF2B5EF4-FFF2-40B4-BE49-F238E27FC236}">
                  <a16:creationId xmlns:a16="http://schemas.microsoft.com/office/drawing/2014/main" id="{64BD0368-1020-4116-B812-82FC1D5267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5784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>
                <a:buClr>
                  <a:schemeClr val="tx2"/>
                </a:buClr>
              </a:pPr>
              <a:r>
                <a:rPr lang="en-US" sz="1600">
                  <a:latin typeface="+mn-lt"/>
                </a:rPr>
                <a:t>Legend</a:t>
              </a:r>
            </a:p>
          </p:txBody>
        </p:sp>
        <p:grpSp>
          <p:nvGrpSpPr>
            <p:cNvPr id="151" name="MoonLegend3">
              <a:extLst>
                <a:ext uri="{FF2B5EF4-FFF2-40B4-BE49-F238E27FC236}">
                  <a16:creationId xmlns:a16="http://schemas.microsoft.com/office/drawing/2014/main" id="{77ED8B01-5070-497E-B24B-3D57BB97ECB7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52" name="Oval 47">
                <a:extLst>
                  <a:ext uri="{FF2B5EF4-FFF2-40B4-BE49-F238E27FC236}">
                    <a16:creationId xmlns:a16="http://schemas.microsoft.com/office/drawing/2014/main" id="{3B19EDBE-EA57-4721-9D63-C4EA585254A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  <p:sp>
            <p:nvSpPr>
              <p:cNvPr id="153" name="Arc 48">
                <a:extLst>
                  <a:ext uri="{FF2B5EF4-FFF2-40B4-BE49-F238E27FC236}">
                    <a16:creationId xmlns:a16="http://schemas.microsoft.com/office/drawing/2014/main" id="{2873AB9A-447F-4EAA-B438-00704BF5D66A}"/>
                  </a:ext>
                </a:extLst>
              </p:cNvPr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07764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</p:sldLayoutIdLst>
  <p:hf sldNum="0" hdr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667" b="1" baseline="0" noProof="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2133" baseline="0">
          <a:solidFill>
            <a:schemeClr val="tx1"/>
          </a:solidFill>
          <a:latin typeface="+mn-lt"/>
          <a:ea typeface="+mn-ea"/>
          <a:cs typeface="+mn-cs"/>
        </a:defRPr>
      </a:lvl1pPr>
      <a:lvl2pPr marL="258227" indent="-256111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2133" baseline="0">
          <a:solidFill>
            <a:schemeClr val="tx1"/>
          </a:solidFill>
          <a:latin typeface="+mn-lt"/>
        </a:defRPr>
      </a:lvl2pPr>
      <a:lvl3pPr marL="609585" indent="-35355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2133" baseline="0">
          <a:solidFill>
            <a:schemeClr val="tx1"/>
          </a:solidFill>
          <a:latin typeface="+mn-lt"/>
        </a:defRPr>
      </a:lvl3pPr>
      <a:lvl4pPr marL="816844" indent="-20725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•"/>
        <a:defRPr lang="x-none" sz="2133" baseline="0">
          <a:solidFill>
            <a:schemeClr val="tx1"/>
          </a:solidFill>
          <a:latin typeface="+mn-lt"/>
        </a:defRPr>
      </a:lvl4pPr>
      <a:lvl5pPr marL="999719" indent="-17068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2133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A10F16-300D-46A0-986A-864751DAE8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115412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2"/>
          <p:cNvSpPr txBox="1">
            <a:spLocks/>
          </p:cNvSpPr>
          <p:nvPr userDrawn="1"/>
        </p:nvSpPr>
        <p:spPr>
          <a:xfrm>
            <a:off x="81711" y="6000750"/>
            <a:ext cx="580026" cy="727098"/>
          </a:xfrm>
          <a:prstGeom prst="rect">
            <a:avLst/>
          </a:prstGeom>
        </p:spPr>
        <p:txBody>
          <a:bodyPr anchor="b" anchorCtr="0"/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fld id="{862C723E-44D7-48F2-857F-170703225D2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77" y="6237934"/>
            <a:ext cx="1276350" cy="489414"/>
          </a:xfrm>
          <a:prstGeom prst="rect">
            <a:avLst/>
          </a:prstGeom>
        </p:spPr>
      </p:pic>
      <p:pic>
        <p:nvPicPr>
          <p:cNvPr id="10" name="Logo">
            <a:hlinkClick r:id="" action="ppaction://noaction"/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419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</p:sldLayoutIdLst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DD4F60-5B24-4D99-8A75-B000B24BE8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893864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54" name="Content Placeholder 7"/>
          <p:cNvPicPr>
            <a:picLocks noChangeAspect="1"/>
          </p:cNvPicPr>
          <p:nvPr userDrawn="1"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54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4" r:id="rId17"/>
    <p:sldLayoutId id="2147483745" r:id="rId18"/>
    <p:sldLayoutId id="2147483746" r:id="rId19"/>
    <p:sldLayoutId id="2147483747" r:id="rId20"/>
    <p:sldLayoutId id="2147483688" r:id="rId21"/>
    <p:sldLayoutId id="2147483690" r:id="rId22"/>
    <p:sldLayoutId id="2147483692" r:id="rId23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18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B8C958D-9BFD-424C-8E6C-F4984EB41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32842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48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  <p:pic>
        <p:nvPicPr>
          <p:cNvPr id="31" name="Content Placeholder 7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17" y="6309007"/>
            <a:ext cx="710464" cy="4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887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</p:sldLayoutIdLst>
  <p:hf hdr="0" ftr="0" dt="0"/>
  <p:txStyles>
    <p:titleStyle>
      <a:lvl1pPr algn="l" defTabSz="1219170" rtl="0" eaLnBrk="1" latinLnBrk="0" hangingPunct="1">
        <a:lnSpc>
          <a:spcPts val="2667"/>
        </a:lnSpc>
        <a:spcBef>
          <a:spcPct val="0"/>
        </a:spcBef>
        <a:buNone/>
        <a:defRPr sz="18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501">
          <p15:clr>
            <a:srgbClr val="F26B43"/>
          </p15:clr>
        </p15:guide>
        <p15:guide id="2" pos="279">
          <p15:clr>
            <a:srgbClr val="F26B43"/>
          </p15:clr>
        </p15:guide>
        <p15:guide id="3" orient="horz" pos="1207">
          <p15:clr>
            <a:srgbClr val="F26B43"/>
          </p15:clr>
        </p15:guide>
        <p15:guide id="4" pos="5896">
          <p15:clr>
            <a:srgbClr val="F26B43"/>
          </p15:clr>
        </p15:guide>
        <p15:guide id="5" pos="7401">
          <p15:clr>
            <a:srgbClr val="F26B43"/>
          </p15:clr>
        </p15:guide>
        <p15:guide id="6" orient="horz" pos="3732">
          <p15:clr>
            <a:srgbClr val="F26B43"/>
          </p15:clr>
        </p15:guide>
        <p15:guide id="7" orient="horz" pos="278">
          <p15:clr>
            <a:srgbClr val="F26B43"/>
          </p15:clr>
        </p15:guide>
        <p15:guide id="8" pos="3840">
          <p15:clr>
            <a:srgbClr val="F26B43"/>
          </p15:clr>
        </p15:guide>
        <p15:guide id="9" pos="3976">
          <p15:clr>
            <a:srgbClr val="F26B43"/>
          </p15:clr>
        </p15:guide>
        <p15:guide id="10" pos="3704">
          <p15:clr>
            <a:srgbClr val="F26B43"/>
          </p15:clr>
        </p15:guide>
        <p15:guide id="11" orient="horz" pos="216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58E0C1E-1B0B-424A-B850-5976923C9B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48480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9573"/>
            <a:ext cx="11306175" cy="903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42913" y="1916113"/>
            <a:ext cx="11306175" cy="4260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2"/>
          <p:cNvSpPr txBox="1">
            <a:spLocks/>
          </p:cNvSpPr>
          <p:nvPr userDrawn="1"/>
        </p:nvSpPr>
        <p:spPr>
          <a:xfrm>
            <a:off x="81711" y="6000750"/>
            <a:ext cx="580026" cy="727098"/>
          </a:xfrm>
          <a:prstGeom prst="rect">
            <a:avLst/>
          </a:prstGeom>
        </p:spPr>
        <p:txBody>
          <a:bodyPr anchor="b" anchorCtr="0"/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1588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5882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195887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32948" indent="-237061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72125" indent="-239178" algn="l" defTabSz="1219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fld id="{862C723E-44D7-48F2-857F-170703225D2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77" y="6237934"/>
            <a:ext cx="1276350" cy="489414"/>
          </a:xfrm>
          <a:prstGeom prst="rect">
            <a:avLst/>
          </a:prstGeom>
        </p:spPr>
      </p:pic>
      <p:pic>
        <p:nvPicPr>
          <p:cNvPr id="10" name="Logo">
            <a:hlinkClick r:id="" action="ppaction://noaction"/>
            <a:extLst>
              <a:ext uri="{FF2B5EF4-FFF2-40B4-BE49-F238E27FC236}">
                <a16:creationId xmlns:a16="http://schemas.microsoft.com/office/drawing/2014/main" id="{EB780F48-BC41-4052-AD8C-41396B54BFB3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4" y="6292177"/>
            <a:ext cx="2433241" cy="466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802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6" r:id="rId13"/>
  </p:sldLayoutIdLst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 cap="none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0" indent="1588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ymbol" panose="05050102010706020507" pitchFamily="18" charset="2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95882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195887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432948" indent="-237061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672125" indent="-239178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&gt;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501">
          <p15:clr>
            <a:srgbClr val="F26B43"/>
          </p15:clr>
        </p15:guide>
        <p15:guide id="3" pos="279">
          <p15:clr>
            <a:srgbClr val="F26B43"/>
          </p15:clr>
        </p15:guide>
        <p15:guide id="4" orient="horz" pos="1207">
          <p15:clr>
            <a:srgbClr val="F26B43"/>
          </p15:clr>
        </p15:guide>
        <p15:guide id="5" pos="5896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3732">
          <p15:clr>
            <a:srgbClr val="F26B43"/>
          </p15:clr>
        </p15:guide>
        <p15:guide id="8" orient="horz" pos="278">
          <p15:clr>
            <a:srgbClr val="F26B43"/>
          </p15:clr>
        </p15:guide>
        <p15:guide id="9" pos="3840">
          <p15:clr>
            <a:srgbClr val="F26B43"/>
          </p15:clr>
        </p15:guide>
        <p15:guide id="10" pos="3976">
          <p15:clr>
            <a:srgbClr val="F26B43"/>
          </p15:clr>
        </p15:guide>
        <p15:guide id="11" pos="3704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83365A5-B850-4452-81AF-322F3D3541D9}"/>
              </a:ext>
            </a:extLst>
          </p:cNvPr>
          <p:cNvSpPr txBox="1"/>
          <p:nvPr/>
        </p:nvSpPr>
        <p:spPr>
          <a:xfrm>
            <a:off x="1250074" y="1774589"/>
            <a:ext cx="9299526" cy="22155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lvl="0" algn="ctr">
              <a:spcBef>
                <a:spcPts val="2800"/>
              </a:spcBef>
              <a:buFont typeface="+mj-lt"/>
              <a:defRPr/>
            </a:pPr>
            <a:r>
              <a:rPr lang="ru-RU" sz="40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ldhabi" panose="020B0604020202020204" pitchFamily="2" charset="-78"/>
              </a:rPr>
              <a:t>План медицинских и образовательных мероприятий</a:t>
            </a:r>
            <a:endParaRPr lang="ru-RU" sz="4000" b="1" i="1" dirty="0">
              <a:solidFill>
                <a:srgbClr val="002060"/>
              </a:solidFill>
              <a:latin typeface="Museo Sans Cyrl 100" panose="02000000000000000000" pitchFamily="2" charset="-52"/>
              <a:cs typeface="Aldhabi" panose="020B0604020202020204" pitchFamily="2" charset="-78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D2FDC8F-207C-4838-947D-EBE91E1FD83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363041" y="0"/>
            <a:ext cx="1828959" cy="1371719"/>
          </a:xfrm>
          <a:prstGeom prst="rect">
            <a:avLst/>
          </a:prstGeom>
        </p:spPr>
      </p:pic>
      <p:sp>
        <p:nvSpPr>
          <p:cNvPr id="11" name="Rectangle 5">
            <a:extLst>
              <a:ext uri="{FF2B5EF4-FFF2-40B4-BE49-F238E27FC236}">
                <a16:creationId xmlns:a16="http://schemas.microsoft.com/office/drawing/2014/main" id="{458CA120-A310-47EE-A86D-4E79707B8D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6016"/>
            <a:ext cx="759260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200"/>
              </a:spcBef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Cambria" panose="02040503050406030204" pitchFamily="18" charset="0"/>
              </a:defRPr>
            </a:lvl1pPr>
            <a:lvl2pPr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Cambria" panose="02040503050406030204" pitchFamily="18" charset="0"/>
              </a:defRPr>
            </a:lvl2pPr>
            <a:lvl3pPr marL="730250"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3pPr>
            <a:lvl4pPr marL="1004888"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4pPr>
            <a:lvl5pPr marL="1279525" indent="-182563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5pPr>
            <a:lvl6pPr marL="17367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6pPr>
            <a:lvl7pPr marL="21939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7pPr>
            <a:lvl8pPr marL="26511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8pPr>
            <a:lvl9pPr marL="3108325" indent="-182563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rgbClr val="9E3611"/>
              </a:buClr>
              <a:buSzPct val="8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Филиал ООО «Джонсон </a:t>
            </a:r>
            <a:r>
              <a:rPr kumimoji="0" lang="en-US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&amp;</a:t>
            </a: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 Джонсон» в Республике Казахстан</a:t>
            </a:r>
            <a:endParaRPr kumimoji="0" lang="ru-RU" altLang="ru-RU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BA203D-1708-44C6-8E61-0D30B9C9C9EC}"/>
              </a:ext>
            </a:extLst>
          </p:cNvPr>
          <p:cNvSpPr/>
          <p:nvPr/>
        </p:nvSpPr>
        <p:spPr>
          <a:xfrm>
            <a:off x="158268" y="6231322"/>
            <a:ext cx="21836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rgbClr val="555555"/>
                </a:solidFill>
                <a:latin typeface="Arial" panose="020B0604020202020204" pitchFamily="34" charset="0"/>
              </a:rPr>
              <a:t>Job code: </a:t>
            </a: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P-242213</a:t>
            </a:r>
            <a:endParaRPr lang="ru-RU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Заголовок 13"/>
          <p:cNvSpPr txBox="1">
            <a:spLocks/>
          </p:cNvSpPr>
          <p:nvPr/>
        </p:nvSpPr>
        <p:spPr>
          <a:xfrm>
            <a:off x="152554" y="6259259"/>
            <a:ext cx="2812473" cy="598741"/>
          </a:xfrm>
          <a:prstGeom prst="rect">
            <a:avLst/>
          </a:prstGeom>
          <a:noFill/>
        </p:spPr>
        <p:txBody>
          <a:bodyPr vert="horz" lIns="0" rIns="0" bIns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Date of preparation: August 2021</a:t>
            </a:r>
            <a:r>
              <a:rPr lang="ru-RU" sz="1600" dirty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DDE756-AD49-4FB8-BEF0-207E0EB4AB3C}"/>
              </a:ext>
            </a:extLst>
          </p:cNvPr>
          <p:cNvSpPr txBox="1"/>
          <p:nvPr/>
        </p:nvSpPr>
        <p:spPr>
          <a:xfrm>
            <a:off x="2970742" y="6104844"/>
            <a:ext cx="620683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Материал предназначен для медицинских и фармацевтических работников. Материал разработан медицинским отделом Филиала ООО «</a:t>
            </a:r>
            <a:r>
              <a:rPr lang="ru-RU" sz="1400" dirty="0" err="1"/>
              <a:t>Johnson&amp;Johnson</a:t>
            </a:r>
            <a:r>
              <a:rPr lang="ru-RU" sz="1400" dirty="0"/>
              <a:t>» в Республике Казахстан </a:t>
            </a:r>
          </a:p>
        </p:txBody>
      </p:sp>
    </p:spTree>
    <p:extLst>
      <p:ext uri="{BB962C8B-B14F-4D97-AF65-F5344CB8AC3E}">
        <p14:creationId xmlns:p14="http://schemas.microsoft.com/office/powerpoint/2010/main" val="14245404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DEBCE0A8-4750-4DB9-AE0F-0D430EA55A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2180187"/>
              </p:ext>
            </p:extLst>
          </p:nvPr>
        </p:nvGraphicFramePr>
        <p:xfrm>
          <a:off x="165100" y="233891"/>
          <a:ext cx="11874501" cy="56154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1800">
                  <a:extLst>
                    <a:ext uri="{9D8B030D-6E8A-4147-A177-3AD203B41FA5}">
                      <a16:colId xmlns:a16="http://schemas.microsoft.com/office/drawing/2014/main" val="2898907486"/>
                    </a:ext>
                  </a:extLst>
                </a:gridCol>
                <a:gridCol w="2867025">
                  <a:extLst>
                    <a:ext uri="{9D8B030D-6E8A-4147-A177-3AD203B41FA5}">
                      <a16:colId xmlns:a16="http://schemas.microsoft.com/office/drawing/2014/main" val="2669461463"/>
                    </a:ext>
                  </a:extLst>
                </a:gridCol>
                <a:gridCol w="7305676">
                  <a:extLst>
                    <a:ext uri="{9D8B030D-6E8A-4147-A177-3AD203B41FA5}">
                      <a16:colId xmlns:a16="http://schemas.microsoft.com/office/drawing/2014/main" val="1006188955"/>
                    </a:ext>
                  </a:extLst>
                </a:gridCol>
              </a:tblGrid>
              <a:tr h="464335">
                <a:tc>
                  <a:txBody>
                    <a:bodyPr/>
                    <a:lstStyle/>
                    <a:p>
                      <a:r>
                        <a:rPr lang="ru-RU" sz="1200" dirty="0"/>
                        <a:t>Дат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Мероприят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Описание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2465256"/>
                  </a:ext>
                </a:extLst>
              </a:tr>
              <a:tr h="892449">
                <a:tc>
                  <a:txBody>
                    <a:bodyPr/>
                    <a:lstStyle/>
                    <a:p>
                      <a:r>
                        <a:rPr lang="ru-RU" sz="1400" dirty="0"/>
                        <a:t>27.08.21-30.08.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C Congress 2021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нгресс ESC призван побуждать и вдохновлять специалистов в области сердечно-сосудистой системы открывать для себя и предоставлять своим пациентам наилучший уход. Это мероприятие широко считается главным ежегодным кардиологическим мероприятием в календаре.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6252346"/>
                  </a:ext>
                </a:extLst>
              </a:tr>
              <a:tr h="464335">
                <a:tc>
                  <a:txBody>
                    <a:bodyPr/>
                    <a:lstStyle/>
                    <a:p>
                      <a:r>
                        <a:rPr lang="ru-RU" sz="1400" dirty="0"/>
                        <a:t>22.09.21 – 25.09.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I</a:t>
                      </a:r>
                      <a:r>
                        <a:rPr lang="ru-RU" sz="1400" dirty="0"/>
                        <a:t>V республиканский конгресс по артериальной гипертонии</a:t>
                      </a:r>
                      <a:r>
                        <a:rPr lang="en-US" sz="1400" dirty="0"/>
                        <a:t> </a:t>
                      </a:r>
                      <a:r>
                        <a:rPr lang="ru-RU" sz="1400" dirty="0"/>
                        <a:t>и кардиоваскулярной профилактик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Цель конгресса: информирование медицинской общественности о последних достижениях в области кардиологии, </a:t>
                      </a:r>
                      <a:r>
                        <a:rPr lang="ru-RU" sz="1400" dirty="0" err="1"/>
                        <a:t>гипертензиологии</a:t>
                      </a:r>
                      <a:r>
                        <a:rPr lang="ru-RU" sz="1400" dirty="0"/>
                        <a:t>, кардиоваскулярной профилактики, обсуждение наиболее актуальных проблем в области профилактики и лечения сердечно-сосудистой патологии с акцентом на </a:t>
                      </a:r>
                      <a:r>
                        <a:rPr lang="ru-RU" sz="1400" dirty="0" err="1"/>
                        <a:t>коморбидных</a:t>
                      </a:r>
                      <a:r>
                        <a:rPr lang="ru-RU" sz="1400" dirty="0"/>
                        <a:t> пациентов с учетом сложившейся эпидемиологической ситуации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9487963"/>
                  </a:ext>
                </a:extLst>
              </a:tr>
              <a:tr h="464335">
                <a:tc>
                  <a:txBody>
                    <a:bodyPr/>
                    <a:lstStyle/>
                    <a:p>
                      <a:r>
                        <a:rPr lang="ru-RU" sz="1400" dirty="0"/>
                        <a:t>23.09.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ultimodality imaging for the assessment of patients with pulmonary arterial hypertension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err="1"/>
                        <a:t>Вебинар</a:t>
                      </a:r>
                      <a:r>
                        <a:rPr lang="en-US" sz="1400" dirty="0"/>
                        <a:t> </a:t>
                      </a:r>
                      <a:r>
                        <a:rPr lang="ru-RU" sz="1400" dirty="0"/>
                        <a:t>Европейского общества кардиологов</a:t>
                      </a:r>
                    </a:p>
                    <a:p>
                      <a:r>
                        <a:rPr lang="ru-RU" sz="1400" dirty="0"/>
                        <a:t>Пациенты с ЛАГ диагностируются на поздних стадиях заболевания. Ранняя и правильная диагностика спасает жизнь и значительно улучшает выживаемость согласно последним многоцентровым </a:t>
                      </a:r>
                      <a:r>
                        <a:rPr lang="ru-RU" sz="1400" dirty="0" err="1"/>
                        <a:t>рандомизированным</a:t>
                      </a:r>
                      <a:r>
                        <a:rPr lang="ru-RU" sz="1400" dirty="0"/>
                        <a:t> исследованиям. И в значительной степени опирается на </a:t>
                      </a:r>
                      <a:r>
                        <a:rPr lang="ru-RU" sz="1400" dirty="0" err="1"/>
                        <a:t>мультимодальную</a:t>
                      </a:r>
                      <a:r>
                        <a:rPr lang="ru-RU" sz="1400" dirty="0"/>
                        <a:t> визуализацию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5461079"/>
                  </a:ext>
                </a:extLst>
              </a:tr>
              <a:tr h="464335">
                <a:tc>
                  <a:txBody>
                    <a:bodyPr/>
                    <a:lstStyle/>
                    <a:p>
                      <a:r>
                        <a:rPr lang="ru-RU" sz="1400" dirty="0"/>
                        <a:t>Сентябрь-октябрь</a:t>
                      </a:r>
                    </a:p>
                    <a:p>
                      <a:r>
                        <a:rPr lang="ru-RU" sz="1400" dirty="0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err="1"/>
                        <a:t>CoEx</a:t>
                      </a:r>
                      <a:r>
                        <a:rPr lang="ru-RU" sz="1400" dirty="0"/>
                        <a:t> по КПОС (катетеризации правых отделов сердца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Мастер-класс для </a:t>
                      </a:r>
                      <a:r>
                        <a:rPr lang="ru-RU" sz="1400" dirty="0" err="1"/>
                        <a:t>алматинского</a:t>
                      </a:r>
                      <a:r>
                        <a:rPr lang="ru-RU" sz="1400" dirty="0"/>
                        <a:t> и потенциальных экспертных центров по проведению КПОС для улучшения диагностики ЛАГ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2724487"/>
                  </a:ext>
                </a:extLst>
              </a:tr>
              <a:tr h="464335">
                <a:tc>
                  <a:txBody>
                    <a:bodyPr/>
                    <a:lstStyle/>
                    <a:p>
                      <a:r>
                        <a:rPr lang="ru-RU" sz="1400" dirty="0"/>
                        <a:t>Ноябрь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err="1"/>
                        <a:t>Вебинар</a:t>
                      </a:r>
                      <a:r>
                        <a:rPr lang="ru-RU" sz="1400" dirty="0"/>
                        <a:t> «Последние рекомендации и протокола лечения по ЛАГ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Актуализация обновления казахстанского протокола и действующих международных рекомендаций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35870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01507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False"/>
  <p:tag name="NAME" val="1DoubleBoa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y4aXJ.Ff5sY0TDY1KL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bRtboKRGSPR7y3VYAIs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Hid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heme/theme1.xml><?xml version="1.0" encoding="utf-8"?>
<a:theme xmlns:a="http://schemas.openxmlformats.org/drawingml/2006/main" name="ACTELION">
  <a:themeElements>
    <a:clrScheme name="DRGA OPSUMIT">
      <a:dk1>
        <a:sysClr val="windowText" lastClr="000000"/>
      </a:dk1>
      <a:lt1>
        <a:srgbClr val="FFFFFF"/>
      </a:lt1>
      <a:dk2>
        <a:srgbClr val="808285"/>
      </a:dk2>
      <a:lt2>
        <a:srgbClr val="5160AB"/>
      </a:lt2>
      <a:accent1>
        <a:srgbClr val="7E84C5"/>
      </a:accent1>
      <a:accent2>
        <a:srgbClr val="00B9CD"/>
      </a:accent2>
      <a:accent3>
        <a:srgbClr val="CC0033"/>
      </a:accent3>
      <a:accent4>
        <a:srgbClr val="808285"/>
      </a:accent4>
      <a:accent5>
        <a:srgbClr val="66D5E1"/>
      </a:accent5>
      <a:accent6>
        <a:srgbClr val="E06685"/>
      </a:accent6>
      <a:hlink>
        <a:srgbClr val="00B9CD"/>
      </a:hlink>
      <a:folHlink>
        <a:srgbClr val="CC0033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2.xml><?xml version="1.0" encoding="utf-8"?>
<a:theme xmlns:a="http://schemas.openxmlformats.org/drawingml/2006/main" name="2_BL5719_CF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3479"/>
      </a:accent1>
      <a:accent2>
        <a:srgbClr val="00A0DF"/>
      </a:accent2>
      <a:accent3>
        <a:srgbClr val="1C75BC"/>
      </a:accent3>
      <a:accent4>
        <a:srgbClr val="349941"/>
      </a:accent4>
      <a:accent5>
        <a:srgbClr val="6EBD44"/>
      </a:accent5>
      <a:accent6>
        <a:srgbClr val="808080"/>
      </a:accent6>
      <a:hlink>
        <a:srgbClr val="1C75BC"/>
      </a:hlink>
      <a:folHlink>
        <a:srgbClr val="349941"/>
      </a:folHlink>
    </a:clrScheme>
    <a:fontScheme name="CURRE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003479"/>
        </a:accent1>
        <a:accent2>
          <a:srgbClr val="00A0DF"/>
        </a:accent2>
        <a:accent3>
          <a:srgbClr val="1C75BC"/>
        </a:accent3>
        <a:accent4>
          <a:srgbClr val="349941"/>
        </a:accent4>
        <a:accent5>
          <a:srgbClr val="6EBD44"/>
        </a:accent5>
        <a:accent6>
          <a:srgbClr val="808080"/>
        </a:accent6>
        <a:hlink>
          <a:srgbClr val="1C75BC"/>
        </a:hlink>
        <a:folHlink>
          <a:srgbClr val="34994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BL5719_CF.potx" id="{3009095A-BD4E-4BC3-BA3C-2E771F55152B}" vid="{2D024BC3-C684-4DA9-8B28-5E99B4ADFBB9}"/>
    </a:ext>
  </a:extLst>
</a:theme>
</file>

<file path=ppt/theme/theme3.xml><?xml version="1.0" encoding="utf-8"?>
<a:theme xmlns:a="http://schemas.openxmlformats.org/drawingml/2006/main" name="1_ACTELION">
  <a:themeElements>
    <a:clrScheme name="Custom 6">
      <a:dk1>
        <a:sysClr val="windowText" lastClr="000000"/>
      </a:dk1>
      <a:lt1>
        <a:srgbClr val="FFFFFF"/>
      </a:lt1>
      <a:dk2>
        <a:srgbClr val="006F44"/>
      </a:dk2>
      <a:lt2>
        <a:srgbClr val="FFD100"/>
      </a:lt2>
      <a:accent1>
        <a:srgbClr val="5F7577"/>
      </a:accent1>
      <a:accent2>
        <a:srgbClr val="80B69D"/>
      </a:accent2>
      <a:accent3>
        <a:srgbClr val="006F44"/>
      </a:accent3>
      <a:accent4>
        <a:srgbClr val="FFD000"/>
      </a:accent4>
      <a:accent5>
        <a:srgbClr val="2C5D73"/>
      </a:accent5>
      <a:accent6>
        <a:srgbClr val="569BBE"/>
      </a:accent6>
      <a:hlink>
        <a:srgbClr val="006F44"/>
      </a:hlink>
      <a:folHlink>
        <a:srgbClr val="006F44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2F4F5"/>
        </a:solidFill>
        <a:ln>
          <a:noFill/>
        </a:ln>
      </a:spPr>
      <a:bodyPr vert="horz" wrap="square" lIns="180000" tIns="45720" rIns="91440" bIns="45720" numCol="1" anchor="ctr" anchorCtr="0" compatLnSpc="1">
        <a:prstTxWarp prst="textNoShape">
          <a:avLst/>
        </a:prstTxWarp>
      </a:bodyPr>
      <a:lstStyle>
        <a:defPPr>
          <a:defRPr sz="1400" baseline="30000" dirty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4.xml><?xml version="1.0" encoding="utf-8"?>
<a:theme xmlns:a="http://schemas.openxmlformats.org/drawingml/2006/main" name="2_ACTELION">
  <a:themeElements>
    <a:clrScheme name="DRGA OPSUMIT">
      <a:dk1>
        <a:sysClr val="windowText" lastClr="000000"/>
      </a:dk1>
      <a:lt1>
        <a:srgbClr val="FFFFFF"/>
      </a:lt1>
      <a:dk2>
        <a:srgbClr val="808285"/>
      </a:dk2>
      <a:lt2>
        <a:srgbClr val="5160AB"/>
      </a:lt2>
      <a:accent1>
        <a:srgbClr val="7E84C5"/>
      </a:accent1>
      <a:accent2>
        <a:srgbClr val="00B9CD"/>
      </a:accent2>
      <a:accent3>
        <a:srgbClr val="CC0033"/>
      </a:accent3>
      <a:accent4>
        <a:srgbClr val="808285"/>
      </a:accent4>
      <a:accent5>
        <a:srgbClr val="66D5E1"/>
      </a:accent5>
      <a:accent6>
        <a:srgbClr val="E06685"/>
      </a:accent6>
      <a:hlink>
        <a:srgbClr val="00B9CD"/>
      </a:hlink>
      <a:folHlink>
        <a:srgbClr val="CC0033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5.xml><?xml version="1.0" encoding="utf-8"?>
<a:theme xmlns:a="http://schemas.openxmlformats.org/drawingml/2006/main" name="3_ACTELION">
  <a:themeElements>
    <a:clrScheme name="DRGA OPSUMIT">
      <a:dk1>
        <a:sysClr val="windowText" lastClr="000000"/>
      </a:dk1>
      <a:lt1>
        <a:srgbClr val="FFFFFF"/>
      </a:lt1>
      <a:dk2>
        <a:srgbClr val="808285"/>
      </a:dk2>
      <a:lt2>
        <a:srgbClr val="5160AB"/>
      </a:lt2>
      <a:accent1>
        <a:srgbClr val="7E84C5"/>
      </a:accent1>
      <a:accent2>
        <a:srgbClr val="00B9CD"/>
      </a:accent2>
      <a:accent3>
        <a:srgbClr val="CC0033"/>
      </a:accent3>
      <a:accent4>
        <a:srgbClr val="808285"/>
      </a:accent4>
      <a:accent5>
        <a:srgbClr val="66D5E1"/>
      </a:accent5>
      <a:accent6>
        <a:srgbClr val="E06685"/>
      </a:accent6>
      <a:hlink>
        <a:srgbClr val="00B9CD"/>
      </a:hlink>
      <a:folHlink>
        <a:srgbClr val="CC0033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>
          <a:noFill/>
        </a:ln>
      </a:spPr>
      <a:bodyPr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6.xml><?xml version="1.0" encoding="utf-8"?>
<a:theme xmlns:a="http://schemas.openxmlformats.org/drawingml/2006/main" name="4_ACTELION">
  <a:themeElements>
    <a:clrScheme name="Custom 6">
      <a:dk1>
        <a:sysClr val="windowText" lastClr="000000"/>
      </a:dk1>
      <a:lt1>
        <a:srgbClr val="FFFFFF"/>
      </a:lt1>
      <a:dk2>
        <a:srgbClr val="006F44"/>
      </a:dk2>
      <a:lt2>
        <a:srgbClr val="FFD100"/>
      </a:lt2>
      <a:accent1>
        <a:srgbClr val="5F7577"/>
      </a:accent1>
      <a:accent2>
        <a:srgbClr val="80B69D"/>
      </a:accent2>
      <a:accent3>
        <a:srgbClr val="006F44"/>
      </a:accent3>
      <a:accent4>
        <a:srgbClr val="FFD000"/>
      </a:accent4>
      <a:accent5>
        <a:srgbClr val="2C5D73"/>
      </a:accent5>
      <a:accent6>
        <a:srgbClr val="569BBE"/>
      </a:accent6>
      <a:hlink>
        <a:srgbClr val="006F44"/>
      </a:hlink>
      <a:folHlink>
        <a:srgbClr val="006F44"/>
      </a:folHlink>
    </a:clrScheme>
    <a:fontScheme name="ACT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2F4F5"/>
        </a:solidFill>
        <a:ln>
          <a:noFill/>
        </a:ln>
      </a:spPr>
      <a:bodyPr vert="horz" wrap="square" lIns="180000" tIns="45720" rIns="91440" bIns="45720" numCol="1" anchor="ctr" anchorCtr="0" compatLnSpc="1">
        <a:prstTxWarp prst="textNoShape">
          <a:avLst/>
        </a:prstTxWarp>
      </a:bodyPr>
      <a:lstStyle>
        <a:defPPr>
          <a:defRPr sz="1400" baseline="30000" dirty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Actelion - Scarlet">
        <a:dk1>
          <a:sysClr val="windowText" lastClr="000000"/>
        </a:dk1>
        <a:lt1>
          <a:srgbClr val="FFFFFF"/>
        </a:lt1>
        <a:dk2>
          <a:srgbClr val="CF392A"/>
        </a:dk2>
        <a:lt2>
          <a:srgbClr val="611205"/>
        </a:lt2>
        <a:accent1>
          <a:srgbClr val="CF392A"/>
        </a:accent1>
        <a:accent2>
          <a:srgbClr val="F99900"/>
        </a:accent2>
        <a:accent3>
          <a:srgbClr val="75B843"/>
        </a:accent3>
        <a:accent4>
          <a:srgbClr val="319F86"/>
        </a:accent4>
        <a:accent5>
          <a:srgbClr val="28AFB5"/>
        </a:accent5>
        <a:accent6>
          <a:srgbClr val="2199B9"/>
        </a:accent6>
        <a:hlink>
          <a:srgbClr val="CF392A"/>
        </a:hlink>
        <a:folHlink>
          <a:srgbClr val="611205"/>
        </a:folHlink>
      </a:clrScheme>
    </a:extraClrScheme>
    <a:extraClrScheme>
      <a:clrScheme name="Actelion - Honey">
        <a:dk1>
          <a:sysClr val="windowText" lastClr="000000"/>
        </a:dk1>
        <a:lt1>
          <a:srgbClr val="FFFFFF"/>
        </a:lt1>
        <a:dk2>
          <a:srgbClr val="F99900"/>
        </a:dk2>
        <a:lt2>
          <a:srgbClr val="5B340B"/>
        </a:lt2>
        <a:accent1>
          <a:srgbClr val="F99900"/>
        </a:accent1>
        <a:accent2>
          <a:srgbClr val="75B843"/>
        </a:accent2>
        <a:accent3>
          <a:srgbClr val="319F86"/>
        </a:accent3>
        <a:accent4>
          <a:srgbClr val="28AFB5"/>
        </a:accent4>
        <a:accent5>
          <a:srgbClr val="2199B9"/>
        </a:accent5>
        <a:accent6>
          <a:srgbClr val="40539C"/>
        </a:accent6>
        <a:hlink>
          <a:srgbClr val="F99900"/>
        </a:hlink>
        <a:folHlink>
          <a:srgbClr val="5B340B"/>
        </a:folHlink>
      </a:clrScheme>
    </a:extraClrScheme>
    <a:extraClrScheme>
      <a:clrScheme name="Actelion - Mint">
        <a:dk1>
          <a:sysClr val="windowText" lastClr="000000"/>
        </a:dk1>
        <a:lt1>
          <a:srgbClr val="FFFFFF"/>
        </a:lt1>
        <a:dk2>
          <a:srgbClr val="75B843"/>
        </a:dk2>
        <a:lt2>
          <a:srgbClr val="122814"/>
        </a:lt2>
        <a:accent1>
          <a:srgbClr val="75B843"/>
        </a:accent1>
        <a:accent2>
          <a:srgbClr val="319F86"/>
        </a:accent2>
        <a:accent3>
          <a:srgbClr val="28AFB5"/>
        </a:accent3>
        <a:accent4>
          <a:srgbClr val="2199B9"/>
        </a:accent4>
        <a:accent5>
          <a:srgbClr val="40539C"/>
        </a:accent5>
        <a:accent6>
          <a:srgbClr val="6C3896"/>
        </a:accent6>
        <a:hlink>
          <a:srgbClr val="75B843"/>
        </a:hlink>
        <a:folHlink>
          <a:srgbClr val="122814"/>
        </a:folHlink>
      </a:clrScheme>
    </a:extraClrScheme>
    <a:extraClrScheme>
      <a:clrScheme name="Actelion - Teal">
        <a:dk1>
          <a:sysClr val="windowText" lastClr="000000"/>
        </a:dk1>
        <a:lt1>
          <a:srgbClr val="FFFFFF"/>
        </a:lt1>
        <a:dk2>
          <a:srgbClr val="319F86"/>
        </a:dk2>
        <a:lt2>
          <a:srgbClr val="003A2D"/>
        </a:lt2>
        <a:accent1>
          <a:srgbClr val="319F86"/>
        </a:accent1>
        <a:accent2>
          <a:srgbClr val="28AFB5"/>
        </a:accent2>
        <a:accent3>
          <a:srgbClr val="2199B9"/>
        </a:accent3>
        <a:accent4>
          <a:srgbClr val="40539C"/>
        </a:accent4>
        <a:accent5>
          <a:srgbClr val="6C3896"/>
        </a:accent5>
        <a:accent6>
          <a:srgbClr val="6F205A"/>
        </a:accent6>
        <a:hlink>
          <a:srgbClr val="319F86"/>
        </a:hlink>
        <a:folHlink>
          <a:srgbClr val="003A2D"/>
        </a:folHlink>
      </a:clrScheme>
    </a:extraClrScheme>
    <a:extraClrScheme>
      <a:clrScheme name="Actelion - Turquoise">
        <a:dk1>
          <a:sysClr val="windowText" lastClr="000000"/>
        </a:dk1>
        <a:lt1>
          <a:srgbClr val="FFFFFF"/>
        </a:lt1>
        <a:dk2>
          <a:srgbClr val="28AFB5"/>
        </a:dk2>
        <a:lt2>
          <a:srgbClr val="002C2E"/>
        </a:lt2>
        <a:accent1>
          <a:srgbClr val="28AFB5"/>
        </a:accent1>
        <a:accent2>
          <a:srgbClr val="2199B9"/>
        </a:accent2>
        <a:accent3>
          <a:srgbClr val="40539C"/>
        </a:accent3>
        <a:accent4>
          <a:srgbClr val="6C3896"/>
        </a:accent4>
        <a:accent5>
          <a:srgbClr val="6F205A"/>
        </a:accent5>
        <a:accent6>
          <a:srgbClr val="8F0F4A"/>
        </a:accent6>
        <a:hlink>
          <a:srgbClr val="28AFB5"/>
        </a:hlink>
        <a:folHlink>
          <a:srgbClr val="002C2E"/>
        </a:folHlink>
      </a:clrScheme>
    </a:extraClrScheme>
    <a:extraClrScheme>
      <a:clrScheme name="Actelion - Azure">
        <a:dk1>
          <a:sysClr val="windowText" lastClr="000000"/>
        </a:dk1>
        <a:lt1>
          <a:srgbClr val="FFFFFF"/>
        </a:lt1>
        <a:dk2>
          <a:srgbClr val="2199B9"/>
        </a:dk2>
        <a:lt2>
          <a:srgbClr val="00273F"/>
        </a:lt2>
        <a:accent1>
          <a:srgbClr val="2199B9"/>
        </a:accent1>
        <a:accent2>
          <a:srgbClr val="40539C"/>
        </a:accent2>
        <a:accent3>
          <a:srgbClr val="6C3896"/>
        </a:accent3>
        <a:accent4>
          <a:srgbClr val="6F205A"/>
        </a:accent4>
        <a:accent5>
          <a:srgbClr val="8F0F4A"/>
        </a:accent5>
        <a:accent6>
          <a:srgbClr val="CF392A"/>
        </a:accent6>
        <a:hlink>
          <a:srgbClr val="2199B9"/>
        </a:hlink>
        <a:folHlink>
          <a:srgbClr val="00273F"/>
        </a:folHlink>
      </a:clrScheme>
    </a:extraClrScheme>
    <a:extraClrScheme>
      <a:clrScheme name="Actelion - Indigo">
        <a:dk1>
          <a:sysClr val="windowText" lastClr="000000"/>
        </a:dk1>
        <a:lt1>
          <a:srgbClr val="FFFFFF"/>
        </a:lt1>
        <a:dk2>
          <a:srgbClr val="40539C"/>
        </a:dk2>
        <a:lt2>
          <a:srgbClr val="0F2439"/>
        </a:lt2>
        <a:accent1>
          <a:srgbClr val="40539C"/>
        </a:accent1>
        <a:accent2>
          <a:srgbClr val="6C3896"/>
        </a:accent2>
        <a:accent3>
          <a:srgbClr val="6F205A"/>
        </a:accent3>
        <a:accent4>
          <a:srgbClr val="8F0F4A"/>
        </a:accent4>
        <a:accent5>
          <a:srgbClr val="CF392A"/>
        </a:accent5>
        <a:accent6>
          <a:srgbClr val="F99900"/>
        </a:accent6>
        <a:hlink>
          <a:srgbClr val="40539C"/>
        </a:hlink>
        <a:folHlink>
          <a:srgbClr val="0F2439"/>
        </a:folHlink>
      </a:clrScheme>
    </a:extraClrScheme>
    <a:extraClrScheme>
      <a:clrScheme name="Actelion - Violet">
        <a:dk1>
          <a:sysClr val="windowText" lastClr="000000"/>
        </a:dk1>
        <a:lt1>
          <a:srgbClr val="FFFFFF"/>
        </a:lt1>
        <a:dk2>
          <a:srgbClr val="6C3896"/>
        </a:dk2>
        <a:lt2>
          <a:srgbClr val="2F173A"/>
        </a:lt2>
        <a:accent1>
          <a:srgbClr val="6C3896"/>
        </a:accent1>
        <a:accent2>
          <a:srgbClr val="6F205A"/>
        </a:accent2>
        <a:accent3>
          <a:srgbClr val="8F0F4A"/>
        </a:accent3>
        <a:accent4>
          <a:srgbClr val="CF392A"/>
        </a:accent4>
        <a:accent5>
          <a:srgbClr val="F99900"/>
        </a:accent5>
        <a:accent6>
          <a:srgbClr val="75B843"/>
        </a:accent6>
        <a:hlink>
          <a:srgbClr val="6C3896"/>
        </a:hlink>
        <a:folHlink>
          <a:srgbClr val="2F173A"/>
        </a:folHlink>
      </a:clrScheme>
    </a:extraClrScheme>
    <a:extraClrScheme>
      <a:clrScheme name="Actelion - Plum">
        <a:dk1>
          <a:sysClr val="windowText" lastClr="000000"/>
        </a:dk1>
        <a:lt1>
          <a:srgbClr val="FFFFFF"/>
        </a:lt1>
        <a:dk2>
          <a:srgbClr val="6F205A"/>
        </a:dk2>
        <a:lt2>
          <a:srgbClr val="3B1626"/>
        </a:lt2>
        <a:accent1>
          <a:srgbClr val="6F205A"/>
        </a:accent1>
        <a:accent2>
          <a:srgbClr val="8F0F4A"/>
        </a:accent2>
        <a:accent3>
          <a:srgbClr val="CF392A"/>
        </a:accent3>
        <a:accent4>
          <a:srgbClr val="F99900"/>
        </a:accent4>
        <a:accent5>
          <a:srgbClr val="75B843"/>
        </a:accent5>
        <a:accent6>
          <a:srgbClr val="319F86"/>
        </a:accent6>
        <a:hlink>
          <a:srgbClr val="6F205A"/>
        </a:hlink>
        <a:folHlink>
          <a:srgbClr val="3B1626"/>
        </a:folHlink>
      </a:clrScheme>
    </a:extraClrScheme>
    <a:extraClrScheme>
      <a:clrScheme name="Actelion - Grape">
        <a:dk1>
          <a:sysClr val="windowText" lastClr="000000"/>
        </a:dk1>
        <a:lt1>
          <a:srgbClr val="FFFFFF"/>
        </a:lt1>
        <a:dk2>
          <a:srgbClr val="8F0F4A"/>
        </a:dk2>
        <a:lt2>
          <a:srgbClr val="370918"/>
        </a:lt2>
        <a:accent1>
          <a:srgbClr val="8F0F4A"/>
        </a:accent1>
        <a:accent2>
          <a:srgbClr val="CF392A"/>
        </a:accent2>
        <a:accent3>
          <a:srgbClr val="F99900"/>
        </a:accent3>
        <a:accent4>
          <a:srgbClr val="75B843"/>
        </a:accent4>
        <a:accent5>
          <a:srgbClr val="319F86"/>
        </a:accent5>
        <a:accent6>
          <a:srgbClr val="28AFB5"/>
        </a:accent6>
        <a:hlink>
          <a:srgbClr val="8F0F4A"/>
        </a:hlink>
        <a:folHlink>
          <a:srgbClr val="370918"/>
        </a:folHlink>
      </a:clrScheme>
    </a:extraClrScheme>
  </a:extraClrSchemeLst>
  <a:extLst>
    <a:ext uri="{05A4C25C-085E-4340-85A3-A5531E510DB2}">
      <thm15:themeFamily xmlns:thm15="http://schemas.microsoft.com/office/thememl/2012/main" name="Actelion169_20170614(2).potx" id="{F84BF83A-8BCE-41EF-8AE4-200FCDD499D3}" vid="{C93DE386-145D-4DC1-8650-39409A487156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87</TotalTime>
  <Words>235</Words>
  <Application>Microsoft Office PowerPoint</Application>
  <PresentationFormat>Widescreen</PresentationFormat>
  <Paragraphs>26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8" baseType="lpstr">
      <vt:lpstr>Arial</vt:lpstr>
      <vt:lpstr>Calibri</vt:lpstr>
      <vt:lpstr>Cambria</vt:lpstr>
      <vt:lpstr>Museo Sans Cyrl 100</vt:lpstr>
      <vt:lpstr>Noto Sans Symbols</vt:lpstr>
      <vt:lpstr>Symbol</vt:lpstr>
      <vt:lpstr>Times New Roman</vt:lpstr>
      <vt:lpstr>Verdana</vt:lpstr>
      <vt:lpstr>Wingdings</vt:lpstr>
      <vt:lpstr>ACTELION</vt:lpstr>
      <vt:lpstr>2_BL5719_CF</vt:lpstr>
      <vt:lpstr>1_ACTELION</vt:lpstr>
      <vt:lpstr>2_ACTELION</vt:lpstr>
      <vt:lpstr>3_ACTELION</vt:lpstr>
      <vt:lpstr>4_ACTELION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лада</dc:title>
  <dc:creator>Zhulneva, Julia [JACRU]</dc:creator>
  <cp:lastModifiedBy>Askarova, Azhar [JACKZ]</cp:lastModifiedBy>
  <cp:revision>265</cp:revision>
  <dcterms:created xsi:type="dcterms:W3CDTF">2020-04-22T15:20:30Z</dcterms:created>
  <dcterms:modified xsi:type="dcterms:W3CDTF">2021-08-12T05:43:25Z</dcterms:modified>
</cp:coreProperties>
</file>